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9"/>
  </p:notesMasterIdLst>
  <p:handoutMasterIdLst>
    <p:handoutMasterId r:id="rId10"/>
  </p:handoutMasterIdLst>
  <p:sldIdLst>
    <p:sldId id="262" r:id="rId2"/>
    <p:sldId id="257" r:id="rId3"/>
    <p:sldId id="258" r:id="rId4"/>
    <p:sldId id="259" r:id="rId5"/>
    <p:sldId id="342" r:id="rId6"/>
    <p:sldId id="260" r:id="rId7"/>
    <p:sldId id="323" r:id="rId8"/>
  </p:sldIdLst>
  <p:sldSz cx="6577013" cy="9359900"/>
  <p:notesSz cx="6858000" cy="9144000"/>
  <p:custDataLst>
    <p:tags r:id="rId11"/>
  </p:custDataLst>
  <p:defaultTextStyle>
    <a:defPPr>
      <a:defRPr lang="en-US"/>
    </a:defPPr>
    <a:lvl1pPr marL="0" algn="l" defTabSz="869209" rtl="0" eaLnBrk="1" latinLnBrk="0" hangingPunct="1">
      <a:defRPr sz="1711" kern="1200">
        <a:solidFill>
          <a:schemeClr val="tx1"/>
        </a:solidFill>
        <a:latin typeface="+mn-lt"/>
        <a:ea typeface="+mn-ea"/>
        <a:cs typeface="+mn-cs"/>
      </a:defRPr>
    </a:lvl1pPr>
    <a:lvl2pPr marL="434605" algn="l" defTabSz="869209" rtl="0" eaLnBrk="1" latinLnBrk="0" hangingPunct="1">
      <a:defRPr sz="1711" kern="1200">
        <a:solidFill>
          <a:schemeClr val="tx1"/>
        </a:solidFill>
        <a:latin typeface="+mn-lt"/>
        <a:ea typeface="+mn-ea"/>
        <a:cs typeface="+mn-cs"/>
      </a:defRPr>
    </a:lvl2pPr>
    <a:lvl3pPr marL="869209" algn="l" defTabSz="869209" rtl="0" eaLnBrk="1" latinLnBrk="0" hangingPunct="1">
      <a:defRPr sz="1711" kern="1200">
        <a:solidFill>
          <a:schemeClr val="tx1"/>
        </a:solidFill>
        <a:latin typeface="+mn-lt"/>
        <a:ea typeface="+mn-ea"/>
        <a:cs typeface="+mn-cs"/>
      </a:defRPr>
    </a:lvl3pPr>
    <a:lvl4pPr marL="1303814" algn="l" defTabSz="869209" rtl="0" eaLnBrk="1" latinLnBrk="0" hangingPunct="1">
      <a:defRPr sz="1711" kern="1200">
        <a:solidFill>
          <a:schemeClr val="tx1"/>
        </a:solidFill>
        <a:latin typeface="+mn-lt"/>
        <a:ea typeface="+mn-ea"/>
        <a:cs typeface="+mn-cs"/>
      </a:defRPr>
    </a:lvl4pPr>
    <a:lvl5pPr marL="1738418" algn="l" defTabSz="869209" rtl="0" eaLnBrk="1" latinLnBrk="0" hangingPunct="1">
      <a:defRPr sz="1711" kern="1200">
        <a:solidFill>
          <a:schemeClr val="tx1"/>
        </a:solidFill>
        <a:latin typeface="+mn-lt"/>
        <a:ea typeface="+mn-ea"/>
        <a:cs typeface="+mn-cs"/>
      </a:defRPr>
    </a:lvl5pPr>
    <a:lvl6pPr marL="2173023" algn="l" defTabSz="869209" rtl="0" eaLnBrk="1" latinLnBrk="0" hangingPunct="1">
      <a:defRPr sz="1711" kern="1200">
        <a:solidFill>
          <a:schemeClr val="tx1"/>
        </a:solidFill>
        <a:latin typeface="+mn-lt"/>
        <a:ea typeface="+mn-ea"/>
        <a:cs typeface="+mn-cs"/>
      </a:defRPr>
    </a:lvl6pPr>
    <a:lvl7pPr marL="2607627" algn="l" defTabSz="869209" rtl="0" eaLnBrk="1" latinLnBrk="0" hangingPunct="1">
      <a:defRPr sz="1711" kern="1200">
        <a:solidFill>
          <a:schemeClr val="tx1"/>
        </a:solidFill>
        <a:latin typeface="+mn-lt"/>
        <a:ea typeface="+mn-ea"/>
        <a:cs typeface="+mn-cs"/>
      </a:defRPr>
    </a:lvl7pPr>
    <a:lvl8pPr marL="3042232" algn="l" defTabSz="869209" rtl="0" eaLnBrk="1" latinLnBrk="0" hangingPunct="1">
      <a:defRPr sz="1711" kern="1200">
        <a:solidFill>
          <a:schemeClr val="tx1"/>
        </a:solidFill>
        <a:latin typeface="+mn-lt"/>
        <a:ea typeface="+mn-ea"/>
        <a:cs typeface="+mn-cs"/>
      </a:defRPr>
    </a:lvl8pPr>
    <a:lvl9pPr marL="3476837" algn="l" defTabSz="869209" rtl="0" eaLnBrk="1" latinLnBrk="0" hangingPunct="1">
      <a:defRPr sz="1711" kern="1200">
        <a:solidFill>
          <a:schemeClr val="tx1"/>
        </a:solidFill>
        <a:latin typeface="+mn-lt"/>
        <a:ea typeface="+mn-ea"/>
        <a:cs typeface="+mn-cs"/>
      </a:defRPr>
    </a:lvl9pPr>
  </p:defaultTextStyle>
  <p:extLst>
    <p:ext uri="{EFAFB233-063F-42B5-8137-9DF3F51BA10A}">
      <p15:sldGuideLst xmlns:p15="http://schemas.microsoft.com/office/powerpoint/2012/main">
        <p15:guide id="1" pos="348" userDrawn="1">
          <p15:clr>
            <a:srgbClr val="A4A3A4"/>
          </p15:clr>
        </p15:guide>
        <p15:guide id="2" pos="3795" userDrawn="1">
          <p15:clr>
            <a:srgbClr val="A4A3A4"/>
          </p15:clr>
        </p15:guide>
        <p15:guide id="5" orient="horz" pos="907" userDrawn="1">
          <p15:clr>
            <a:srgbClr val="A4A3A4"/>
          </p15:clr>
        </p15:guide>
        <p15:guide id="6" orient="horz" pos="2925" userDrawn="1">
          <p15:clr>
            <a:srgbClr val="A4A3A4"/>
          </p15:clr>
        </p15:guide>
        <p15:guide id="7" orient="horz" pos="154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389F884-2472-31B8-B44A-0A12FF19D502}" name="Windy Santoso" initials="WS" userId="12d83e08d2047866" providerId="Windows Live"/>
  <p188:author id="{B750F2A5-14D0-E325-29BF-D0520BF70D90}" name="Des Rosiers, Sarah" initials="DRS" userId="S::DESROSA1@novartis.net::a902d833-ec12-4f6e-97d3-f07e874000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ndy Santoso" initials="WS" lastIdx="4" clrIdx="0">
    <p:extLst>
      <p:ext uri="{19B8F6BF-5375-455C-9EA6-DF929625EA0E}">
        <p15:presenceInfo xmlns:p15="http://schemas.microsoft.com/office/powerpoint/2012/main" userId="12d83e08d204786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E1C4"/>
    <a:srgbClr val="E3D0B3"/>
    <a:srgbClr val="D0D0D0"/>
    <a:srgbClr val="151515"/>
    <a:srgbClr val="834B2E"/>
    <a:srgbClr val="2A292A"/>
    <a:srgbClr val="213B4A"/>
    <a:srgbClr val="91786C"/>
    <a:srgbClr val="3A5664"/>
    <a:srgbClr val="2E4C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6327" autoAdjust="0"/>
  </p:normalViewPr>
  <p:slideViewPr>
    <p:cSldViewPr snapToGrid="0" showGuides="1">
      <p:cViewPr varScale="1">
        <p:scale>
          <a:sx n="49" d="100"/>
          <a:sy n="49" d="100"/>
        </p:scale>
        <p:origin x="2196" y="48"/>
      </p:cViewPr>
      <p:guideLst>
        <p:guide pos="348"/>
        <p:guide pos="3795"/>
        <p:guide orient="horz" pos="907"/>
        <p:guide orient="horz" pos="2925"/>
        <p:guide orient="horz" pos="1542"/>
      </p:guideLst>
    </p:cSldViewPr>
  </p:slideViewPr>
  <p:notesTextViewPr>
    <p:cViewPr>
      <p:scale>
        <a:sx n="1" d="1"/>
        <a:sy n="1" d="1"/>
      </p:scale>
      <p:origin x="0" y="0"/>
    </p:cViewPr>
  </p:notesTextViewPr>
  <p:sorterViewPr>
    <p:cViewPr>
      <p:scale>
        <a:sx n="50" d="100"/>
        <a:sy n="50" d="100"/>
      </p:scale>
      <p:origin x="0" y="0"/>
    </p:cViewPr>
  </p:sorterViewPr>
  <p:notesViewPr>
    <p:cSldViewPr snapToGrid="0" showGuides="1">
      <p:cViewPr varScale="1">
        <p:scale>
          <a:sx n="61" d="100"/>
          <a:sy n="61" d="100"/>
        </p:scale>
        <p:origin x="3182" y="3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s Rosiers, Sarah" userId="a902d833-ec12-4f6e-97d3-f07e8740007b" providerId="ADAL" clId="{893C9E1B-8FF5-4065-93B9-68710945BB5C}"/>
    <pc:docChg chg="undo custSel modSld">
      <pc:chgData name="Des Rosiers, Sarah" userId="a902d833-ec12-4f6e-97d3-f07e8740007b" providerId="ADAL" clId="{893C9E1B-8FF5-4065-93B9-68710945BB5C}" dt="2024-07-26T10:00:35.911" v="744" actId="20577"/>
      <pc:docMkLst>
        <pc:docMk/>
      </pc:docMkLst>
      <pc:sldChg chg="modSp mod">
        <pc:chgData name="Des Rosiers, Sarah" userId="a902d833-ec12-4f6e-97d3-f07e8740007b" providerId="ADAL" clId="{893C9E1B-8FF5-4065-93B9-68710945BB5C}" dt="2024-07-26T09:37:41.575" v="630" actId="20577"/>
        <pc:sldMkLst>
          <pc:docMk/>
          <pc:sldMk cId="2235544674" sldId="271"/>
        </pc:sldMkLst>
        <pc:spChg chg="mod">
          <ac:chgData name="Des Rosiers, Sarah" userId="a902d833-ec12-4f6e-97d3-f07e8740007b" providerId="ADAL" clId="{893C9E1B-8FF5-4065-93B9-68710945BB5C}" dt="2024-07-26T09:37:15.227" v="612" actId="14100"/>
          <ac:spMkLst>
            <pc:docMk/>
            <pc:sldMk cId="2235544674" sldId="271"/>
            <ac:spMk id="3" creationId="{837C274D-35D9-75B2-6F93-9BDF812B55B5}"/>
          </ac:spMkLst>
        </pc:spChg>
        <pc:spChg chg="mod">
          <ac:chgData name="Des Rosiers, Sarah" userId="a902d833-ec12-4f6e-97d3-f07e8740007b" providerId="ADAL" clId="{893C9E1B-8FF5-4065-93B9-68710945BB5C}" dt="2024-07-26T09:37:11.229" v="611" actId="1036"/>
          <ac:spMkLst>
            <pc:docMk/>
            <pc:sldMk cId="2235544674" sldId="271"/>
            <ac:spMk id="4" creationId="{88057495-5DEF-64C7-02A7-D3DAB0F56635}"/>
          </ac:spMkLst>
        </pc:spChg>
        <pc:spChg chg="mod">
          <ac:chgData name="Des Rosiers, Sarah" userId="a902d833-ec12-4f6e-97d3-f07e8740007b" providerId="ADAL" clId="{893C9E1B-8FF5-4065-93B9-68710945BB5C}" dt="2024-07-26T09:37:41.575" v="630" actId="20577"/>
          <ac:spMkLst>
            <pc:docMk/>
            <pc:sldMk cId="2235544674" sldId="271"/>
            <ac:spMk id="5" creationId="{9A4A2814-87F5-9DE5-BE37-49C836247DC4}"/>
          </ac:spMkLst>
        </pc:spChg>
        <pc:spChg chg="mod">
          <ac:chgData name="Des Rosiers, Sarah" userId="a902d833-ec12-4f6e-97d3-f07e8740007b" providerId="ADAL" clId="{893C9E1B-8FF5-4065-93B9-68710945BB5C}" dt="2024-07-26T09:37:11.229" v="611" actId="1036"/>
          <ac:spMkLst>
            <pc:docMk/>
            <pc:sldMk cId="2235544674" sldId="271"/>
            <ac:spMk id="16" creationId="{05058149-12E6-5867-85C0-B72433A643A1}"/>
          </ac:spMkLst>
        </pc:spChg>
        <pc:spChg chg="mod">
          <ac:chgData name="Des Rosiers, Sarah" userId="a902d833-ec12-4f6e-97d3-f07e8740007b" providerId="ADAL" clId="{893C9E1B-8FF5-4065-93B9-68710945BB5C}" dt="2024-07-26T09:37:11.229" v="611" actId="1036"/>
          <ac:spMkLst>
            <pc:docMk/>
            <pc:sldMk cId="2235544674" sldId="271"/>
            <ac:spMk id="17" creationId="{5CC7CB54-97B0-84E3-5CA8-2D604B47D2EF}"/>
          </ac:spMkLst>
        </pc:spChg>
      </pc:sldChg>
      <pc:sldChg chg="modSp mod">
        <pc:chgData name="Des Rosiers, Sarah" userId="a902d833-ec12-4f6e-97d3-f07e8740007b" providerId="ADAL" clId="{893C9E1B-8FF5-4065-93B9-68710945BB5C}" dt="2024-07-23T13:53:05.885" v="27" actId="1036"/>
        <pc:sldMkLst>
          <pc:docMk/>
          <pc:sldMk cId="529116146" sldId="278"/>
        </pc:sldMkLst>
        <pc:spChg chg="mod">
          <ac:chgData name="Des Rosiers, Sarah" userId="a902d833-ec12-4f6e-97d3-f07e8740007b" providerId="ADAL" clId="{893C9E1B-8FF5-4065-93B9-68710945BB5C}" dt="2024-07-23T13:53:01.070" v="17" actId="1036"/>
          <ac:spMkLst>
            <pc:docMk/>
            <pc:sldMk cId="529116146" sldId="278"/>
            <ac:spMk id="2" creationId="{DE9F2846-72CE-7B17-AB82-527FB0AD0C72}"/>
          </ac:spMkLst>
        </pc:spChg>
        <pc:spChg chg="mod">
          <ac:chgData name="Des Rosiers, Sarah" userId="a902d833-ec12-4f6e-97d3-f07e8740007b" providerId="ADAL" clId="{893C9E1B-8FF5-4065-93B9-68710945BB5C}" dt="2024-07-23T13:53:05.885" v="27" actId="1036"/>
          <ac:spMkLst>
            <pc:docMk/>
            <pc:sldMk cId="529116146" sldId="278"/>
            <ac:spMk id="6" creationId="{ADDF8343-EB3E-E61B-6164-C9658EE50862}"/>
          </ac:spMkLst>
        </pc:spChg>
      </pc:sldChg>
      <pc:sldChg chg="modSp mod">
        <pc:chgData name="Des Rosiers, Sarah" userId="a902d833-ec12-4f6e-97d3-f07e8740007b" providerId="ADAL" clId="{893C9E1B-8FF5-4065-93B9-68710945BB5C}" dt="2024-07-26T09:49:16.311" v="703" actId="1036"/>
        <pc:sldMkLst>
          <pc:docMk/>
          <pc:sldMk cId="1442147507" sldId="279"/>
        </pc:sldMkLst>
        <pc:spChg chg="mod">
          <ac:chgData name="Des Rosiers, Sarah" userId="a902d833-ec12-4f6e-97d3-f07e8740007b" providerId="ADAL" clId="{893C9E1B-8FF5-4065-93B9-68710945BB5C}" dt="2024-07-26T09:48:59.231" v="683" actId="20577"/>
          <ac:spMkLst>
            <pc:docMk/>
            <pc:sldMk cId="1442147507" sldId="279"/>
            <ac:spMk id="2" creationId="{DE9F2846-72CE-7B17-AB82-527FB0AD0C72}"/>
          </ac:spMkLst>
        </pc:spChg>
        <pc:spChg chg="mod">
          <ac:chgData name="Des Rosiers, Sarah" userId="a902d833-ec12-4f6e-97d3-f07e8740007b" providerId="ADAL" clId="{893C9E1B-8FF5-4065-93B9-68710945BB5C}" dt="2024-07-26T09:48:53.257" v="682" actId="14100"/>
          <ac:spMkLst>
            <pc:docMk/>
            <pc:sldMk cId="1442147507" sldId="279"/>
            <ac:spMk id="4" creationId="{D2FCE2A3-5182-E519-47CC-07C45E1EF80D}"/>
          </ac:spMkLst>
        </pc:spChg>
        <pc:spChg chg="mod">
          <ac:chgData name="Des Rosiers, Sarah" userId="a902d833-ec12-4f6e-97d3-f07e8740007b" providerId="ADAL" clId="{893C9E1B-8FF5-4065-93B9-68710945BB5C}" dt="2024-07-26T09:49:16.311" v="703" actId="1036"/>
          <ac:spMkLst>
            <pc:docMk/>
            <pc:sldMk cId="1442147507" sldId="279"/>
            <ac:spMk id="7" creationId="{2A8A0384-54DC-1129-47B0-DCC4106B20E6}"/>
          </ac:spMkLst>
        </pc:spChg>
        <pc:spChg chg="mod">
          <ac:chgData name="Des Rosiers, Sarah" userId="a902d833-ec12-4f6e-97d3-f07e8740007b" providerId="ADAL" clId="{893C9E1B-8FF5-4065-93B9-68710945BB5C}" dt="2024-07-26T09:49:09.732" v="696" actId="1036"/>
          <ac:spMkLst>
            <pc:docMk/>
            <pc:sldMk cId="1442147507" sldId="279"/>
            <ac:spMk id="9" creationId="{E365F119-0093-9291-4C8E-02248F2242FD}"/>
          </ac:spMkLst>
        </pc:spChg>
        <pc:spChg chg="mod">
          <ac:chgData name="Des Rosiers, Sarah" userId="a902d833-ec12-4f6e-97d3-f07e8740007b" providerId="ADAL" clId="{893C9E1B-8FF5-4065-93B9-68710945BB5C}" dt="2024-07-26T09:49:16.311" v="703" actId="1036"/>
          <ac:spMkLst>
            <pc:docMk/>
            <pc:sldMk cId="1442147507" sldId="279"/>
            <ac:spMk id="11" creationId="{F4578BBC-300E-1566-2499-D9BCCD16E8BD}"/>
          </ac:spMkLst>
        </pc:spChg>
        <pc:spChg chg="mod">
          <ac:chgData name="Des Rosiers, Sarah" userId="a902d833-ec12-4f6e-97d3-f07e8740007b" providerId="ADAL" clId="{893C9E1B-8FF5-4065-93B9-68710945BB5C}" dt="2024-07-26T09:49:16.311" v="703" actId="1036"/>
          <ac:spMkLst>
            <pc:docMk/>
            <pc:sldMk cId="1442147507" sldId="279"/>
            <ac:spMk id="12" creationId="{ADD06160-6696-25A6-FB83-30B1A948D6A5}"/>
          </ac:spMkLst>
        </pc:spChg>
        <pc:spChg chg="mod">
          <ac:chgData name="Des Rosiers, Sarah" userId="a902d833-ec12-4f6e-97d3-f07e8740007b" providerId="ADAL" clId="{893C9E1B-8FF5-4065-93B9-68710945BB5C}" dt="2024-07-26T09:49:16.311" v="703" actId="1036"/>
          <ac:spMkLst>
            <pc:docMk/>
            <pc:sldMk cId="1442147507" sldId="279"/>
            <ac:spMk id="13" creationId="{D2129781-2D9C-D4F5-B71F-E1A093C1451E}"/>
          </ac:spMkLst>
        </pc:spChg>
        <pc:spChg chg="mod">
          <ac:chgData name="Des Rosiers, Sarah" userId="a902d833-ec12-4f6e-97d3-f07e8740007b" providerId="ADAL" clId="{893C9E1B-8FF5-4065-93B9-68710945BB5C}" dt="2024-07-26T09:49:09.732" v="696" actId="1036"/>
          <ac:spMkLst>
            <pc:docMk/>
            <pc:sldMk cId="1442147507" sldId="279"/>
            <ac:spMk id="14" creationId="{0F86FF1D-B426-7755-5001-90D03091250D}"/>
          </ac:spMkLst>
        </pc:spChg>
        <pc:spChg chg="mod">
          <ac:chgData name="Des Rosiers, Sarah" userId="a902d833-ec12-4f6e-97d3-f07e8740007b" providerId="ADAL" clId="{893C9E1B-8FF5-4065-93B9-68710945BB5C}" dt="2024-07-26T09:49:09.732" v="696" actId="1036"/>
          <ac:spMkLst>
            <pc:docMk/>
            <pc:sldMk cId="1442147507" sldId="279"/>
            <ac:spMk id="15" creationId="{D5FB67CA-7B9C-0322-C56A-D113F38D9A8D}"/>
          </ac:spMkLst>
        </pc:spChg>
        <pc:spChg chg="mod">
          <ac:chgData name="Des Rosiers, Sarah" userId="a902d833-ec12-4f6e-97d3-f07e8740007b" providerId="ADAL" clId="{893C9E1B-8FF5-4065-93B9-68710945BB5C}" dt="2024-07-26T09:49:16.311" v="703" actId="1036"/>
          <ac:spMkLst>
            <pc:docMk/>
            <pc:sldMk cId="1442147507" sldId="279"/>
            <ac:spMk id="16" creationId="{10E4612C-8561-0A31-A25F-FA756DF0581F}"/>
          </ac:spMkLst>
        </pc:spChg>
        <pc:spChg chg="mod">
          <ac:chgData name="Des Rosiers, Sarah" userId="a902d833-ec12-4f6e-97d3-f07e8740007b" providerId="ADAL" clId="{893C9E1B-8FF5-4065-93B9-68710945BB5C}" dt="2024-07-26T09:49:16.311" v="703" actId="1036"/>
          <ac:spMkLst>
            <pc:docMk/>
            <pc:sldMk cId="1442147507" sldId="279"/>
            <ac:spMk id="17" creationId="{3E1C89F9-454B-9110-80C6-B1DD53EF0BE6}"/>
          </ac:spMkLst>
        </pc:spChg>
        <pc:spChg chg="mod">
          <ac:chgData name="Des Rosiers, Sarah" userId="a902d833-ec12-4f6e-97d3-f07e8740007b" providerId="ADAL" clId="{893C9E1B-8FF5-4065-93B9-68710945BB5C}" dt="2024-07-26T09:49:16.311" v="703" actId="1036"/>
          <ac:spMkLst>
            <pc:docMk/>
            <pc:sldMk cId="1442147507" sldId="279"/>
            <ac:spMk id="18" creationId="{1E3F41C1-FB01-B6BA-5E91-0694F65F8CBF}"/>
          </ac:spMkLst>
        </pc:spChg>
        <pc:spChg chg="mod">
          <ac:chgData name="Des Rosiers, Sarah" userId="a902d833-ec12-4f6e-97d3-f07e8740007b" providerId="ADAL" clId="{893C9E1B-8FF5-4065-93B9-68710945BB5C}" dt="2024-07-26T09:49:09.732" v="696" actId="1036"/>
          <ac:spMkLst>
            <pc:docMk/>
            <pc:sldMk cId="1442147507" sldId="279"/>
            <ac:spMk id="19" creationId="{41A4B177-ABF4-C598-3188-74F1989BA379}"/>
          </ac:spMkLst>
        </pc:spChg>
        <pc:spChg chg="mod">
          <ac:chgData name="Des Rosiers, Sarah" userId="a902d833-ec12-4f6e-97d3-f07e8740007b" providerId="ADAL" clId="{893C9E1B-8FF5-4065-93B9-68710945BB5C}" dt="2024-07-26T09:49:09.732" v="696" actId="1036"/>
          <ac:spMkLst>
            <pc:docMk/>
            <pc:sldMk cId="1442147507" sldId="279"/>
            <ac:spMk id="20" creationId="{16000422-290F-03B5-D9CC-939F14291C60}"/>
          </ac:spMkLst>
        </pc:spChg>
        <pc:spChg chg="mod">
          <ac:chgData name="Des Rosiers, Sarah" userId="a902d833-ec12-4f6e-97d3-f07e8740007b" providerId="ADAL" clId="{893C9E1B-8FF5-4065-93B9-68710945BB5C}" dt="2024-07-26T09:49:09.732" v="696" actId="1036"/>
          <ac:spMkLst>
            <pc:docMk/>
            <pc:sldMk cId="1442147507" sldId="279"/>
            <ac:spMk id="21" creationId="{E83E6D73-BAE3-1B16-A17D-A250CEBBDEED}"/>
          </ac:spMkLst>
        </pc:spChg>
        <pc:spChg chg="mod">
          <ac:chgData name="Des Rosiers, Sarah" userId="a902d833-ec12-4f6e-97d3-f07e8740007b" providerId="ADAL" clId="{893C9E1B-8FF5-4065-93B9-68710945BB5C}" dt="2024-07-26T09:49:09.732" v="696" actId="1036"/>
          <ac:spMkLst>
            <pc:docMk/>
            <pc:sldMk cId="1442147507" sldId="279"/>
            <ac:spMk id="22" creationId="{10624781-CECE-778D-5F8D-2352CD36F274}"/>
          </ac:spMkLst>
        </pc:spChg>
        <pc:spChg chg="mod">
          <ac:chgData name="Des Rosiers, Sarah" userId="a902d833-ec12-4f6e-97d3-f07e8740007b" providerId="ADAL" clId="{893C9E1B-8FF5-4065-93B9-68710945BB5C}" dt="2024-07-26T09:49:09.732" v="696" actId="1036"/>
          <ac:spMkLst>
            <pc:docMk/>
            <pc:sldMk cId="1442147507" sldId="279"/>
            <ac:spMk id="23" creationId="{FF508CE6-7AFB-6016-C003-146282184CCA}"/>
          </ac:spMkLst>
        </pc:spChg>
        <pc:spChg chg="mod">
          <ac:chgData name="Des Rosiers, Sarah" userId="a902d833-ec12-4f6e-97d3-f07e8740007b" providerId="ADAL" clId="{893C9E1B-8FF5-4065-93B9-68710945BB5C}" dt="2024-07-26T09:49:09.732" v="696" actId="1036"/>
          <ac:spMkLst>
            <pc:docMk/>
            <pc:sldMk cId="1442147507" sldId="279"/>
            <ac:spMk id="24" creationId="{03CD7D74-BC73-55FF-72D9-11A865B9A2D3}"/>
          </ac:spMkLst>
        </pc:spChg>
        <pc:grpChg chg="mod">
          <ac:chgData name="Des Rosiers, Sarah" userId="a902d833-ec12-4f6e-97d3-f07e8740007b" providerId="ADAL" clId="{893C9E1B-8FF5-4065-93B9-68710945BB5C}" dt="2024-07-26T09:48:37.220" v="669" actId="1076"/>
          <ac:grpSpMkLst>
            <pc:docMk/>
            <pc:sldMk cId="1442147507" sldId="279"/>
            <ac:grpSpMk id="8" creationId="{1F76D542-15A9-F979-CF3A-649F5A8B28C5}"/>
          </ac:grpSpMkLst>
        </pc:grpChg>
        <pc:graphicFrameChg chg="mod">
          <ac:chgData name="Des Rosiers, Sarah" userId="a902d833-ec12-4f6e-97d3-f07e8740007b" providerId="ADAL" clId="{893C9E1B-8FF5-4065-93B9-68710945BB5C}" dt="2024-07-26T09:49:09.732" v="696" actId="1036"/>
          <ac:graphicFrameMkLst>
            <pc:docMk/>
            <pc:sldMk cId="1442147507" sldId="279"/>
            <ac:graphicFrameMk id="3" creationId="{DE2ECE0B-1F75-6F25-A382-6677F6A8BEEE}"/>
          </ac:graphicFrameMkLst>
        </pc:graphicFrameChg>
      </pc:sldChg>
      <pc:sldChg chg="modSp mod">
        <pc:chgData name="Des Rosiers, Sarah" userId="a902d833-ec12-4f6e-97d3-f07e8740007b" providerId="ADAL" clId="{893C9E1B-8FF5-4065-93B9-68710945BB5C}" dt="2024-07-26T09:52:53.897" v="705" actId="113"/>
        <pc:sldMkLst>
          <pc:docMk/>
          <pc:sldMk cId="3906411866" sldId="285"/>
        </pc:sldMkLst>
        <pc:spChg chg="mod">
          <ac:chgData name="Des Rosiers, Sarah" userId="a902d833-ec12-4f6e-97d3-f07e8740007b" providerId="ADAL" clId="{893C9E1B-8FF5-4065-93B9-68710945BB5C}" dt="2024-07-26T09:32:43.668" v="502" actId="14100"/>
          <ac:spMkLst>
            <pc:docMk/>
            <pc:sldMk cId="3906411866" sldId="285"/>
            <ac:spMk id="4" creationId="{A1211999-C00E-3E2E-EF54-49CE94E949E7}"/>
          </ac:spMkLst>
        </pc:spChg>
        <pc:spChg chg="mod">
          <ac:chgData name="Des Rosiers, Sarah" userId="a902d833-ec12-4f6e-97d3-f07e8740007b" providerId="ADAL" clId="{893C9E1B-8FF5-4065-93B9-68710945BB5C}" dt="2024-07-26T09:52:53.897" v="705" actId="113"/>
          <ac:spMkLst>
            <pc:docMk/>
            <pc:sldMk cId="3906411866" sldId="285"/>
            <ac:spMk id="6" creationId="{6DDDE1D1-DC29-30C3-B4A9-9859ACAB377F}"/>
          </ac:spMkLst>
        </pc:spChg>
        <pc:spChg chg="mod">
          <ac:chgData name="Des Rosiers, Sarah" userId="a902d833-ec12-4f6e-97d3-f07e8740007b" providerId="ADAL" clId="{893C9E1B-8FF5-4065-93B9-68710945BB5C}" dt="2024-07-26T09:32:37.339" v="501" actId="1036"/>
          <ac:spMkLst>
            <pc:docMk/>
            <pc:sldMk cId="3906411866" sldId="285"/>
            <ac:spMk id="16" creationId="{E587950A-A529-3893-2AA0-FDB3A2FEDDE8}"/>
          </ac:spMkLst>
        </pc:spChg>
        <pc:spChg chg="mod">
          <ac:chgData name="Des Rosiers, Sarah" userId="a902d833-ec12-4f6e-97d3-f07e8740007b" providerId="ADAL" clId="{893C9E1B-8FF5-4065-93B9-68710945BB5C}" dt="2024-07-26T09:32:32.840" v="487" actId="1036"/>
          <ac:spMkLst>
            <pc:docMk/>
            <pc:sldMk cId="3906411866" sldId="285"/>
            <ac:spMk id="18" creationId="{1F9E95F2-49FC-F631-A64F-6D065CEA5265}"/>
          </ac:spMkLst>
        </pc:spChg>
      </pc:sldChg>
      <pc:sldChg chg="modSp mod">
        <pc:chgData name="Des Rosiers, Sarah" userId="a902d833-ec12-4f6e-97d3-f07e8740007b" providerId="ADAL" clId="{893C9E1B-8FF5-4065-93B9-68710945BB5C}" dt="2024-07-26T08:57:52.812" v="106" actId="1076"/>
        <pc:sldMkLst>
          <pc:docMk/>
          <pc:sldMk cId="3875428015" sldId="291"/>
        </pc:sldMkLst>
        <pc:spChg chg="mod">
          <ac:chgData name="Des Rosiers, Sarah" userId="a902d833-ec12-4f6e-97d3-f07e8740007b" providerId="ADAL" clId="{893C9E1B-8FF5-4065-93B9-68710945BB5C}" dt="2024-07-26T08:57:52.812" v="106" actId="1076"/>
          <ac:spMkLst>
            <pc:docMk/>
            <pc:sldMk cId="3875428015" sldId="291"/>
            <ac:spMk id="5" creationId="{3CDCEF57-DA3E-8530-FB6A-A112E19F2A2A}"/>
          </ac:spMkLst>
        </pc:spChg>
        <pc:picChg chg="mod">
          <ac:chgData name="Des Rosiers, Sarah" userId="a902d833-ec12-4f6e-97d3-f07e8740007b" providerId="ADAL" clId="{893C9E1B-8FF5-4065-93B9-68710945BB5C}" dt="2024-07-26T08:57:47.399" v="105" actId="14100"/>
          <ac:picMkLst>
            <pc:docMk/>
            <pc:sldMk cId="3875428015" sldId="291"/>
            <ac:picMk id="4" creationId="{5AB85EE2-9F6E-5873-8FAE-07E8F15DB635}"/>
          </ac:picMkLst>
        </pc:picChg>
      </pc:sldChg>
      <pc:sldChg chg="modSp mod">
        <pc:chgData name="Des Rosiers, Sarah" userId="a902d833-ec12-4f6e-97d3-f07e8740007b" providerId="ADAL" clId="{893C9E1B-8FF5-4065-93B9-68710945BB5C}" dt="2024-07-26T09:53:13.332" v="709" actId="113"/>
        <pc:sldMkLst>
          <pc:docMk/>
          <pc:sldMk cId="2521575131" sldId="294"/>
        </pc:sldMkLst>
        <pc:spChg chg="mod">
          <ac:chgData name="Des Rosiers, Sarah" userId="a902d833-ec12-4f6e-97d3-f07e8740007b" providerId="ADAL" clId="{893C9E1B-8FF5-4065-93B9-68710945BB5C}" dt="2024-07-26T09:28:51.907" v="413" actId="14100"/>
          <ac:spMkLst>
            <pc:docMk/>
            <pc:sldMk cId="2521575131" sldId="294"/>
            <ac:spMk id="6" creationId="{85BE80FA-3FBD-E31B-96D1-3911838A87FA}"/>
          </ac:spMkLst>
        </pc:spChg>
        <pc:spChg chg="mod">
          <ac:chgData name="Des Rosiers, Sarah" userId="a902d833-ec12-4f6e-97d3-f07e8740007b" providerId="ADAL" clId="{893C9E1B-8FF5-4065-93B9-68710945BB5C}" dt="2024-07-26T09:53:13.332" v="709" actId="113"/>
          <ac:spMkLst>
            <pc:docMk/>
            <pc:sldMk cId="2521575131" sldId="294"/>
            <ac:spMk id="11" creationId="{393C5D63-715B-E015-2C8B-5ADA20AD9E6F}"/>
          </ac:spMkLst>
        </pc:spChg>
        <pc:spChg chg="mod">
          <ac:chgData name="Des Rosiers, Sarah" userId="a902d833-ec12-4f6e-97d3-f07e8740007b" providerId="ADAL" clId="{893C9E1B-8FF5-4065-93B9-68710945BB5C}" dt="2024-07-26T09:29:00.799" v="423" actId="1036"/>
          <ac:spMkLst>
            <pc:docMk/>
            <pc:sldMk cId="2521575131" sldId="294"/>
            <ac:spMk id="13" creationId="{DECE2439-0CD2-8138-86A3-A7FE61A02FAB}"/>
          </ac:spMkLst>
        </pc:spChg>
        <pc:spChg chg="mod">
          <ac:chgData name="Des Rosiers, Sarah" userId="a902d833-ec12-4f6e-97d3-f07e8740007b" providerId="ADAL" clId="{893C9E1B-8FF5-4065-93B9-68710945BB5C}" dt="2024-07-26T09:29:00.799" v="423" actId="1036"/>
          <ac:spMkLst>
            <pc:docMk/>
            <pc:sldMk cId="2521575131" sldId="294"/>
            <ac:spMk id="14" creationId="{B13B509D-8A99-26EE-649B-539B94F61F2F}"/>
          </ac:spMkLst>
        </pc:spChg>
        <pc:spChg chg="mod">
          <ac:chgData name="Des Rosiers, Sarah" userId="a902d833-ec12-4f6e-97d3-f07e8740007b" providerId="ADAL" clId="{893C9E1B-8FF5-4065-93B9-68710945BB5C}" dt="2024-07-26T09:29:00.799" v="423" actId="1036"/>
          <ac:spMkLst>
            <pc:docMk/>
            <pc:sldMk cId="2521575131" sldId="294"/>
            <ac:spMk id="15" creationId="{73E789CF-818A-56F4-D93F-B4D8147A9047}"/>
          </ac:spMkLst>
        </pc:spChg>
        <pc:spChg chg="mod">
          <ac:chgData name="Des Rosiers, Sarah" userId="a902d833-ec12-4f6e-97d3-f07e8740007b" providerId="ADAL" clId="{893C9E1B-8FF5-4065-93B9-68710945BB5C}" dt="2024-07-26T09:29:00.799" v="423" actId="1036"/>
          <ac:spMkLst>
            <pc:docMk/>
            <pc:sldMk cId="2521575131" sldId="294"/>
            <ac:spMk id="16" creationId="{BE7362B4-5E63-A393-8432-D3A3175448CA}"/>
          </ac:spMkLst>
        </pc:spChg>
      </pc:sldChg>
      <pc:sldChg chg="addSp delSp modSp mod">
        <pc:chgData name="Des Rosiers, Sarah" userId="a902d833-ec12-4f6e-97d3-f07e8740007b" providerId="ADAL" clId="{893C9E1B-8FF5-4065-93B9-68710945BB5C}" dt="2024-07-23T13:58:47.488" v="65" actId="1076"/>
        <pc:sldMkLst>
          <pc:docMk/>
          <pc:sldMk cId="3826823637" sldId="298"/>
        </pc:sldMkLst>
        <pc:picChg chg="del mod">
          <ac:chgData name="Des Rosiers, Sarah" userId="a902d833-ec12-4f6e-97d3-f07e8740007b" providerId="ADAL" clId="{893C9E1B-8FF5-4065-93B9-68710945BB5C}" dt="2024-07-23T13:58:33.470" v="63" actId="478"/>
          <ac:picMkLst>
            <pc:docMk/>
            <pc:sldMk cId="3826823637" sldId="298"/>
            <ac:picMk id="2" creationId="{4E6EDF25-12A8-E710-53E3-7EDF6F8333E0}"/>
          </ac:picMkLst>
        </pc:picChg>
        <pc:picChg chg="add mod">
          <ac:chgData name="Des Rosiers, Sarah" userId="a902d833-ec12-4f6e-97d3-f07e8740007b" providerId="ADAL" clId="{893C9E1B-8FF5-4065-93B9-68710945BB5C}" dt="2024-07-23T13:58:47.488" v="65" actId="1076"/>
          <ac:picMkLst>
            <pc:docMk/>
            <pc:sldMk cId="3826823637" sldId="298"/>
            <ac:picMk id="3" creationId="{98365C04-8CED-9982-710B-083C5F84E3BC}"/>
          </ac:picMkLst>
        </pc:picChg>
      </pc:sldChg>
      <pc:sldChg chg="modSp mod">
        <pc:chgData name="Des Rosiers, Sarah" userId="a902d833-ec12-4f6e-97d3-f07e8740007b" providerId="ADAL" clId="{893C9E1B-8FF5-4065-93B9-68710945BB5C}" dt="2024-07-26T09:59:50.907" v="740" actId="12"/>
        <pc:sldMkLst>
          <pc:docMk/>
          <pc:sldMk cId="3949139284" sldId="308"/>
        </pc:sldMkLst>
        <pc:spChg chg="mod">
          <ac:chgData name="Des Rosiers, Sarah" userId="a902d833-ec12-4f6e-97d3-f07e8740007b" providerId="ADAL" clId="{893C9E1B-8FF5-4065-93B9-68710945BB5C}" dt="2024-07-26T09:54:21.016" v="712" actId="14100"/>
          <ac:spMkLst>
            <pc:docMk/>
            <pc:sldMk cId="3949139284" sldId="308"/>
            <ac:spMk id="13" creationId="{15CE3CD4-C02E-1B50-408D-120C85190E8D}"/>
          </ac:spMkLst>
        </pc:spChg>
        <pc:spChg chg="mod">
          <ac:chgData name="Des Rosiers, Sarah" userId="a902d833-ec12-4f6e-97d3-f07e8740007b" providerId="ADAL" clId="{893C9E1B-8FF5-4065-93B9-68710945BB5C}" dt="2024-07-26T09:59:50.907" v="740" actId="12"/>
          <ac:spMkLst>
            <pc:docMk/>
            <pc:sldMk cId="3949139284" sldId="308"/>
            <ac:spMk id="16" creationId="{9B3B158B-DEA7-A552-C6D0-6A837C6F5916}"/>
          </ac:spMkLst>
        </pc:spChg>
      </pc:sldChg>
      <pc:sldChg chg="modSp mod">
        <pc:chgData name="Des Rosiers, Sarah" userId="a902d833-ec12-4f6e-97d3-f07e8740007b" providerId="ADAL" clId="{893C9E1B-8FF5-4065-93B9-68710945BB5C}" dt="2024-07-26T10:00:35.911" v="744" actId="20577"/>
        <pc:sldMkLst>
          <pc:docMk/>
          <pc:sldMk cId="985212202" sldId="309"/>
        </pc:sldMkLst>
        <pc:spChg chg="mod">
          <ac:chgData name="Des Rosiers, Sarah" userId="a902d833-ec12-4f6e-97d3-f07e8740007b" providerId="ADAL" clId="{893C9E1B-8FF5-4065-93B9-68710945BB5C}" dt="2024-07-26T10:00:35.911" v="744" actId="20577"/>
          <ac:spMkLst>
            <pc:docMk/>
            <pc:sldMk cId="985212202" sldId="309"/>
            <ac:spMk id="22" creationId="{390841E0-A750-AAEF-BF93-BDEA942083B5}"/>
          </ac:spMkLst>
        </pc:spChg>
      </pc:sldChg>
      <pc:sldChg chg="addSp modSp mod">
        <pc:chgData name="Des Rosiers, Sarah" userId="a902d833-ec12-4f6e-97d3-f07e8740007b" providerId="ADAL" clId="{893C9E1B-8FF5-4065-93B9-68710945BB5C}" dt="2024-07-26T09:05:22.394" v="215" actId="113"/>
        <pc:sldMkLst>
          <pc:docMk/>
          <pc:sldMk cId="289806246" sldId="323"/>
        </pc:sldMkLst>
        <pc:spChg chg="add mod">
          <ac:chgData name="Des Rosiers, Sarah" userId="a902d833-ec12-4f6e-97d3-f07e8740007b" providerId="ADAL" clId="{893C9E1B-8FF5-4065-93B9-68710945BB5C}" dt="2024-07-26T09:05:22.394" v="215" actId="113"/>
          <ac:spMkLst>
            <pc:docMk/>
            <pc:sldMk cId="289806246" sldId="323"/>
            <ac:spMk id="3" creationId="{61231CEB-CB76-62B6-71D4-DDE61EE4ED27}"/>
          </ac:spMkLst>
        </pc:spChg>
      </pc:sldChg>
      <pc:sldChg chg="modSp mod">
        <pc:chgData name="Des Rosiers, Sarah" userId="a902d833-ec12-4f6e-97d3-f07e8740007b" providerId="ADAL" clId="{893C9E1B-8FF5-4065-93B9-68710945BB5C}" dt="2024-07-23T13:56:38.581" v="49" actId="1036"/>
        <pc:sldMkLst>
          <pc:docMk/>
          <pc:sldMk cId="4263345809" sldId="324"/>
        </pc:sldMkLst>
        <pc:graphicFrameChg chg="mod">
          <ac:chgData name="Des Rosiers, Sarah" userId="a902d833-ec12-4f6e-97d3-f07e8740007b" providerId="ADAL" clId="{893C9E1B-8FF5-4065-93B9-68710945BB5C}" dt="2024-07-23T13:56:38.581" v="49" actId="1036"/>
          <ac:graphicFrameMkLst>
            <pc:docMk/>
            <pc:sldMk cId="4263345809" sldId="324"/>
            <ac:graphicFrameMk id="7" creationId="{AF895724-1F18-340E-89B1-2190F23672BF}"/>
          </ac:graphicFrameMkLst>
        </pc:graphicFrameChg>
      </pc:sldChg>
      <pc:sldChg chg="modSp mod">
        <pc:chgData name="Des Rosiers, Sarah" userId="a902d833-ec12-4f6e-97d3-f07e8740007b" providerId="ADAL" clId="{893C9E1B-8FF5-4065-93B9-68710945BB5C}" dt="2024-07-23T13:56:57.117" v="62" actId="1035"/>
        <pc:sldMkLst>
          <pc:docMk/>
          <pc:sldMk cId="2022739359" sldId="325"/>
        </pc:sldMkLst>
        <pc:spChg chg="mod">
          <ac:chgData name="Des Rosiers, Sarah" userId="a902d833-ec12-4f6e-97d3-f07e8740007b" providerId="ADAL" clId="{893C9E1B-8FF5-4065-93B9-68710945BB5C}" dt="2024-07-23T13:56:50.276" v="51"/>
          <ac:spMkLst>
            <pc:docMk/>
            <pc:sldMk cId="2022739359" sldId="325"/>
            <ac:spMk id="6" creationId="{D482ED09-CBE2-C35C-75BC-8A6464E03D9D}"/>
          </ac:spMkLst>
        </pc:spChg>
        <pc:graphicFrameChg chg="mod">
          <ac:chgData name="Des Rosiers, Sarah" userId="a902d833-ec12-4f6e-97d3-f07e8740007b" providerId="ADAL" clId="{893C9E1B-8FF5-4065-93B9-68710945BB5C}" dt="2024-07-23T13:56:57.117" v="62" actId="1035"/>
          <ac:graphicFrameMkLst>
            <pc:docMk/>
            <pc:sldMk cId="2022739359" sldId="325"/>
            <ac:graphicFrameMk id="3" creationId="{5B95EEF6-3297-9660-E800-0177EDC17A27}"/>
          </ac:graphicFrameMkLst>
        </pc:graphicFrameChg>
      </pc:sldChg>
      <pc:sldChg chg="delCm">
        <pc:chgData name="Des Rosiers, Sarah" userId="a902d833-ec12-4f6e-97d3-f07e8740007b" providerId="ADAL" clId="{893C9E1B-8FF5-4065-93B9-68710945BB5C}" dt="2024-07-23T13:52:29.613" v="0"/>
        <pc:sldMkLst>
          <pc:docMk/>
          <pc:sldMk cId="674557983" sldId="326"/>
        </pc:sldMkLst>
        <pc:extLst>
          <p:ext xmlns:p="http://schemas.openxmlformats.org/presentationml/2006/main" uri="{D6D511B9-2390-475A-947B-AFAB55BFBCF1}">
            <pc226:cmChg xmlns:pc226="http://schemas.microsoft.com/office/powerpoint/2022/06/main/command" chg="del">
              <pc226:chgData name="Des Rosiers, Sarah" userId="a902d833-ec12-4f6e-97d3-f07e8740007b" providerId="ADAL" clId="{893C9E1B-8FF5-4065-93B9-68710945BB5C}" dt="2024-07-23T13:52:29.613" v="0"/>
              <pc2:cmMkLst xmlns:pc2="http://schemas.microsoft.com/office/powerpoint/2019/9/main/command">
                <pc:docMk/>
                <pc:sldMk cId="674557983" sldId="326"/>
                <pc2:cmMk id="{D1365F7B-2794-45A3-98F2-644C6E70BABB}"/>
              </pc2:cmMkLst>
            </pc226:cmChg>
          </p:ext>
        </pc:extLst>
      </pc:sldChg>
      <pc:sldChg chg="addSp delSp modSp mod">
        <pc:chgData name="Des Rosiers, Sarah" userId="a902d833-ec12-4f6e-97d3-f07e8740007b" providerId="ADAL" clId="{893C9E1B-8FF5-4065-93B9-68710945BB5C}" dt="2024-07-23T14:00:48.592" v="88" actId="732"/>
        <pc:sldMkLst>
          <pc:docMk/>
          <pc:sldMk cId="1358926637" sldId="327"/>
        </pc:sldMkLst>
        <pc:picChg chg="del">
          <ac:chgData name="Des Rosiers, Sarah" userId="a902d833-ec12-4f6e-97d3-f07e8740007b" providerId="ADAL" clId="{893C9E1B-8FF5-4065-93B9-68710945BB5C}" dt="2024-07-23T14:00:15.821" v="66" actId="478"/>
          <ac:picMkLst>
            <pc:docMk/>
            <pc:sldMk cId="1358926637" sldId="327"/>
            <ac:picMk id="2" creationId="{AC7BDC83-00C8-EBED-4B30-E89102CBBA6B}"/>
          </ac:picMkLst>
        </pc:picChg>
        <pc:picChg chg="add mod modCrop">
          <ac:chgData name="Des Rosiers, Sarah" userId="a902d833-ec12-4f6e-97d3-f07e8740007b" providerId="ADAL" clId="{893C9E1B-8FF5-4065-93B9-68710945BB5C}" dt="2024-07-23T14:00:48.592" v="88" actId="732"/>
          <ac:picMkLst>
            <pc:docMk/>
            <pc:sldMk cId="1358926637" sldId="327"/>
            <ac:picMk id="4" creationId="{127D7682-133C-4DCE-838F-B43FC5993AB4}"/>
          </ac:picMkLst>
        </pc:picChg>
      </pc:sldChg>
      <pc:sldChg chg="modSp mod">
        <pc:chgData name="Des Rosiers, Sarah" userId="a902d833-ec12-4f6e-97d3-f07e8740007b" providerId="ADAL" clId="{893C9E1B-8FF5-4065-93B9-68710945BB5C}" dt="2024-07-23T13:52:42.888" v="1" actId="20577"/>
        <pc:sldMkLst>
          <pc:docMk/>
          <pc:sldMk cId="2446646356" sldId="328"/>
        </pc:sldMkLst>
        <pc:spChg chg="mod">
          <ac:chgData name="Des Rosiers, Sarah" userId="a902d833-ec12-4f6e-97d3-f07e8740007b" providerId="ADAL" clId="{893C9E1B-8FF5-4065-93B9-68710945BB5C}" dt="2024-07-23T13:52:42.888" v="1" actId="20577"/>
          <ac:spMkLst>
            <pc:docMk/>
            <pc:sldMk cId="2446646356" sldId="328"/>
            <ac:spMk id="7" creationId="{09B5E3E8-446A-24A4-3A0F-D00DD9F0E292}"/>
          </ac:spMkLst>
        </pc:spChg>
      </pc:sldChg>
      <pc:sldChg chg="modSp mod">
        <pc:chgData name="Des Rosiers, Sarah" userId="a902d833-ec12-4f6e-97d3-f07e8740007b" providerId="ADAL" clId="{893C9E1B-8FF5-4065-93B9-68710945BB5C}" dt="2024-07-26T08:56:59.797" v="102" actId="1036"/>
        <pc:sldMkLst>
          <pc:docMk/>
          <pc:sldMk cId="1808363561" sldId="329"/>
        </pc:sldMkLst>
        <pc:spChg chg="mod">
          <ac:chgData name="Des Rosiers, Sarah" userId="a902d833-ec12-4f6e-97d3-f07e8740007b" providerId="ADAL" clId="{893C9E1B-8FF5-4065-93B9-68710945BB5C}" dt="2024-07-26T08:56:59.797" v="102" actId="1036"/>
          <ac:spMkLst>
            <pc:docMk/>
            <pc:sldMk cId="1808363561" sldId="329"/>
            <ac:spMk id="2" creationId="{5D3DA61E-F568-D6A6-CD4B-C58955090F4E}"/>
          </ac:spMkLst>
        </pc:spChg>
        <pc:picChg chg="mod">
          <ac:chgData name="Des Rosiers, Sarah" userId="a902d833-ec12-4f6e-97d3-f07e8740007b" providerId="ADAL" clId="{893C9E1B-8FF5-4065-93B9-68710945BB5C}" dt="2024-07-26T08:56:55.688" v="94" actId="14100"/>
          <ac:picMkLst>
            <pc:docMk/>
            <pc:sldMk cId="1808363561" sldId="329"/>
            <ac:picMk id="1026" creationId="{FCD731E4-905E-328C-7D8F-498170510FC2}"/>
          </ac:picMkLst>
        </pc:picChg>
      </pc:sldChg>
      <pc:sldChg chg="modSp mod">
        <pc:chgData name="Des Rosiers, Sarah" userId="a902d833-ec12-4f6e-97d3-f07e8740007b" providerId="ADAL" clId="{893C9E1B-8FF5-4065-93B9-68710945BB5C}" dt="2024-07-26T09:52:32.208" v="704" actId="207"/>
        <pc:sldMkLst>
          <pc:docMk/>
          <pc:sldMk cId="3441888593" sldId="331"/>
        </pc:sldMkLst>
        <pc:spChg chg="mod">
          <ac:chgData name="Des Rosiers, Sarah" userId="a902d833-ec12-4f6e-97d3-f07e8740007b" providerId="ADAL" clId="{893C9E1B-8FF5-4065-93B9-68710945BB5C}" dt="2024-07-26T09:29:34.881" v="427" actId="14100"/>
          <ac:spMkLst>
            <pc:docMk/>
            <pc:sldMk cId="3441888593" sldId="331"/>
            <ac:spMk id="3" creationId="{8D0CBD12-2482-6D78-D9DE-E8FB337CA1C7}"/>
          </ac:spMkLst>
        </pc:spChg>
        <pc:spChg chg="mod">
          <ac:chgData name="Des Rosiers, Sarah" userId="a902d833-ec12-4f6e-97d3-f07e8740007b" providerId="ADAL" clId="{893C9E1B-8FF5-4065-93B9-68710945BB5C}" dt="2024-07-26T09:52:32.208" v="704" actId="207"/>
          <ac:spMkLst>
            <pc:docMk/>
            <pc:sldMk cId="3441888593" sldId="331"/>
            <ac:spMk id="6" creationId="{6DDDE1D1-DC29-30C3-B4A9-9859ACAB377F}"/>
          </ac:spMkLst>
        </pc:spChg>
      </pc:sldChg>
      <pc:sldChg chg="modSp mod">
        <pc:chgData name="Des Rosiers, Sarah" userId="a902d833-ec12-4f6e-97d3-f07e8740007b" providerId="ADAL" clId="{893C9E1B-8FF5-4065-93B9-68710945BB5C}" dt="2024-07-26T09:53:40.323" v="710" actId="207"/>
        <pc:sldMkLst>
          <pc:docMk/>
          <pc:sldMk cId="2306738576" sldId="333"/>
        </pc:sldMkLst>
        <pc:spChg chg="mod">
          <ac:chgData name="Des Rosiers, Sarah" userId="a902d833-ec12-4f6e-97d3-f07e8740007b" providerId="ADAL" clId="{893C9E1B-8FF5-4065-93B9-68710945BB5C}" dt="2024-07-26T09:53:40.323" v="710" actId="207"/>
          <ac:spMkLst>
            <pc:docMk/>
            <pc:sldMk cId="2306738576" sldId="333"/>
            <ac:spMk id="2" creationId="{F4F61E7E-06CA-361C-9ABA-F860CEB51C78}"/>
          </ac:spMkLst>
        </pc:spChg>
      </pc:sldChg>
      <pc:sldChg chg="modSp mod">
        <pc:chgData name="Des Rosiers, Sarah" userId="a902d833-ec12-4f6e-97d3-f07e8740007b" providerId="ADAL" clId="{893C9E1B-8FF5-4065-93B9-68710945BB5C}" dt="2024-07-26T08:57:29.085" v="104" actId="6549"/>
        <pc:sldMkLst>
          <pc:docMk/>
          <pc:sldMk cId="1228852168" sldId="334"/>
        </pc:sldMkLst>
        <pc:spChg chg="mod">
          <ac:chgData name="Des Rosiers, Sarah" userId="a902d833-ec12-4f6e-97d3-f07e8740007b" providerId="ADAL" clId="{893C9E1B-8FF5-4065-93B9-68710945BB5C}" dt="2024-07-26T08:57:29.085" v="104" actId="6549"/>
          <ac:spMkLst>
            <pc:docMk/>
            <pc:sldMk cId="1228852168" sldId="334"/>
            <ac:spMk id="15" creationId="{9AA0123D-63E5-080A-59C5-21D10C33D0E0}"/>
          </ac:spMkLst>
        </pc:spChg>
      </pc:sldChg>
      <pc:sldChg chg="modSp mod">
        <pc:chgData name="Des Rosiers, Sarah" userId="a902d833-ec12-4f6e-97d3-f07e8740007b" providerId="ADAL" clId="{893C9E1B-8FF5-4065-93B9-68710945BB5C}" dt="2024-07-26T09:00:05.698" v="109" actId="113"/>
        <pc:sldMkLst>
          <pc:docMk/>
          <pc:sldMk cId="4158866135" sldId="340"/>
        </pc:sldMkLst>
        <pc:spChg chg="mod">
          <ac:chgData name="Des Rosiers, Sarah" userId="a902d833-ec12-4f6e-97d3-f07e8740007b" providerId="ADAL" clId="{893C9E1B-8FF5-4065-93B9-68710945BB5C}" dt="2024-07-26T09:00:05.698" v="109" actId="113"/>
          <ac:spMkLst>
            <pc:docMk/>
            <pc:sldMk cId="4158866135" sldId="340"/>
            <ac:spMk id="2" creationId="{680B488B-670A-B716-184C-1AFFFACB2649}"/>
          </ac:spMkLst>
        </pc:spChg>
      </pc:sldChg>
      <pc:sldChg chg="modSp mod">
        <pc:chgData name="Des Rosiers, Sarah" userId="a902d833-ec12-4f6e-97d3-f07e8740007b" providerId="ADAL" clId="{893C9E1B-8FF5-4065-93B9-68710945BB5C}" dt="2024-07-26T09:05:31.642" v="216" actId="207"/>
        <pc:sldMkLst>
          <pc:docMk/>
          <pc:sldMk cId="78079211" sldId="341"/>
        </pc:sldMkLst>
        <pc:spChg chg="mod">
          <ac:chgData name="Des Rosiers, Sarah" userId="a902d833-ec12-4f6e-97d3-f07e8740007b" providerId="ADAL" clId="{893C9E1B-8FF5-4065-93B9-68710945BB5C}" dt="2024-07-26T09:05:31.642" v="216" actId="207"/>
          <ac:spMkLst>
            <pc:docMk/>
            <pc:sldMk cId="78079211" sldId="341"/>
            <ac:spMk id="2" creationId="{680B488B-670A-B716-184C-1AFFFACB2649}"/>
          </ac:spMkLst>
        </pc:spChg>
      </pc:sldChg>
    </pc:docChg>
  </pc:docChgLst>
  <pc:docChgLst>
    <pc:chgData name="Des Rosiers, Sarah" userId="a902d833-ec12-4f6e-97d3-f07e8740007b" providerId="ADAL" clId="{53123166-8374-4A84-99EB-5A7B7649EE85}"/>
    <pc:docChg chg="custSel addSld delSld modSld">
      <pc:chgData name="Des Rosiers, Sarah" userId="a902d833-ec12-4f6e-97d3-f07e8740007b" providerId="ADAL" clId="{53123166-8374-4A84-99EB-5A7B7649EE85}" dt="2024-07-30T14:29:44.626" v="834" actId="47"/>
      <pc:docMkLst>
        <pc:docMk/>
      </pc:docMkLst>
      <pc:sldChg chg="addSp modSp mod">
        <pc:chgData name="Des Rosiers, Sarah" userId="a902d833-ec12-4f6e-97d3-f07e8740007b" providerId="ADAL" clId="{53123166-8374-4A84-99EB-5A7B7649EE85}" dt="2024-07-30T14:27:33.620" v="827" actId="1035"/>
        <pc:sldMkLst>
          <pc:docMk/>
          <pc:sldMk cId="3669931087" sldId="257"/>
        </pc:sldMkLst>
        <pc:spChg chg="mod">
          <ac:chgData name="Des Rosiers, Sarah" userId="a902d833-ec12-4f6e-97d3-f07e8740007b" providerId="ADAL" clId="{53123166-8374-4A84-99EB-5A7B7649EE85}" dt="2024-07-30T14:26:36.099" v="796" actId="6549"/>
          <ac:spMkLst>
            <pc:docMk/>
            <pc:sldMk cId="3669931087" sldId="257"/>
            <ac:spMk id="5" creationId="{363FDFAF-7B02-862E-7EFF-1A7D0376F9BE}"/>
          </ac:spMkLst>
        </pc:spChg>
        <pc:spChg chg="mod">
          <ac:chgData name="Des Rosiers, Sarah" userId="a902d833-ec12-4f6e-97d3-f07e8740007b" providerId="ADAL" clId="{53123166-8374-4A84-99EB-5A7B7649EE85}" dt="2024-07-30T14:26:41.947" v="797" actId="6549"/>
          <ac:spMkLst>
            <pc:docMk/>
            <pc:sldMk cId="3669931087" sldId="257"/>
            <ac:spMk id="6" creationId="{8B000CBD-1400-38CD-9238-E62576064D45}"/>
          </ac:spMkLst>
        </pc:spChg>
        <pc:picChg chg="add mod">
          <ac:chgData name="Des Rosiers, Sarah" userId="a902d833-ec12-4f6e-97d3-f07e8740007b" providerId="ADAL" clId="{53123166-8374-4A84-99EB-5A7B7649EE85}" dt="2024-07-30T14:27:33.620" v="827" actId="1035"/>
          <ac:picMkLst>
            <pc:docMk/>
            <pc:sldMk cId="3669931087" sldId="257"/>
            <ac:picMk id="7" creationId="{35C13E60-093A-B893-A806-B502E02BAF27}"/>
          </ac:picMkLst>
        </pc:picChg>
      </pc:sldChg>
      <pc:sldChg chg="addSp delSp modSp mod">
        <pc:chgData name="Des Rosiers, Sarah" userId="a902d833-ec12-4f6e-97d3-f07e8740007b" providerId="ADAL" clId="{53123166-8374-4A84-99EB-5A7B7649EE85}" dt="2024-07-30T14:07:26.024" v="95" actId="1035"/>
        <pc:sldMkLst>
          <pc:docMk/>
          <pc:sldMk cId="2395634885" sldId="258"/>
        </pc:sldMkLst>
        <pc:spChg chg="mod">
          <ac:chgData name="Des Rosiers, Sarah" userId="a902d833-ec12-4f6e-97d3-f07e8740007b" providerId="ADAL" clId="{53123166-8374-4A84-99EB-5A7B7649EE85}" dt="2024-07-30T14:04:50.772" v="3"/>
          <ac:spMkLst>
            <pc:docMk/>
            <pc:sldMk cId="2395634885" sldId="258"/>
            <ac:spMk id="6" creationId="{B9375461-29C6-5A1B-58C3-B26F96E0A8FA}"/>
          </ac:spMkLst>
        </pc:spChg>
        <pc:spChg chg="mod">
          <ac:chgData name="Des Rosiers, Sarah" userId="a902d833-ec12-4f6e-97d3-f07e8740007b" providerId="ADAL" clId="{53123166-8374-4A84-99EB-5A7B7649EE85}" dt="2024-07-30T14:06:02.786" v="57" actId="20577"/>
          <ac:spMkLst>
            <pc:docMk/>
            <pc:sldMk cId="2395634885" sldId="258"/>
            <ac:spMk id="7" creationId="{2D43DF71-51F4-57B1-9D69-9173A259CA7A}"/>
          </ac:spMkLst>
        </pc:spChg>
        <pc:spChg chg="add del mod">
          <ac:chgData name="Des Rosiers, Sarah" userId="a902d833-ec12-4f6e-97d3-f07e8740007b" providerId="ADAL" clId="{53123166-8374-4A84-99EB-5A7B7649EE85}" dt="2024-07-30T14:07:02.205" v="63" actId="478"/>
          <ac:spMkLst>
            <pc:docMk/>
            <pc:sldMk cId="2395634885" sldId="258"/>
            <ac:spMk id="8" creationId="{E79541B5-E2FD-6D2B-C110-B2F038704E1E}"/>
          </ac:spMkLst>
        </pc:spChg>
        <pc:spChg chg="add mod">
          <ac:chgData name="Des Rosiers, Sarah" userId="a902d833-ec12-4f6e-97d3-f07e8740007b" providerId="ADAL" clId="{53123166-8374-4A84-99EB-5A7B7649EE85}" dt="2024-07-30T14:06:52.654" v="62" actId="20577"/>
          <ac:spMkLst>
            <pc:docMk/>
            <pc:sldMk cId="2395634885" sldId="258"/>
            <ac:spMk id="10" creationId="{0400BAA6-9E97-8EE4-8878-E1C79A914F04}"/>
          </ac:spMkLst>
        </pc:spChg>
        <pc:spChg chg="add del mod">
          <ac:chgData name="Des Rosiers, Sarah" userId="a902d833-ec12-4f6e-97d3-f07e8740007b" providerId="ADAL" clId="{53123166-8374-4A84-99EB-5A7B7649EE85}" dt="2024-07-30T14:07:08.652" v="66" actId="478"/>
          <ac:spMkLst>
            <pc:docMk/>
            <pc:sldMk cId="2395634885" sldId="258"/>
            <ac:spMk id="11" creationId="{8BBBCD5E-5B87-2A52-2E1F-259AC8F72C5C}"/>
          </ac:spMkLst>
        </pc:spChg>
        <pc:spChg chg="add mod">
          <ac:chgData name="Des Rosiers, Sarah" userId="a902d833-ec12-4f6e-97d3-f07e8740007b" providerId="ADAL" clId="{53123166-8374-4A84-99EB-5A7B7649EE85}" dt="2024-07-30T14:07:26.024" v="95" actId="1035"/>
          <ac:spMkLst>
            <pc:docMk/>
            <pc:sldMk cId="2395634885" sldId="258"/>
            <ac:spMk id="12" creationId="{F0FAB5D2-04E3-878B-5002-694FAFB35F6A}"/>
          </ac:spMkLst>
        </pc:spChg>
        <pc:spChg chg="mod">
          <ac:chgData name="Des Rosiers, Sarah" userId="a902d833-ec12-4f6e-97d3-f07e8740007b" providerId="ADAL" clId="{53123166-8374-4A84-99EB-5A7B7649EE85}" dt="2024-07-30T14:05:22.357" v="5" actId="14100"/>
          <ac:spMkLst>
            <pc:docMk/>
            <pc:sldMk cId="2395634885" sldId="258"/>
            <ac:spMk id="28" creationId="{CB71E4C0-3902-C134-8A2A-D36257C9A50F}"/>
          </ac:spMkLst>
        </pc:spChg>
        <pc:spChg chg="del">
          <ac:chgData name="Des Rosiers, Sarah" userId="a902d833-ec12-4f6e-97d3-f07e8740007b" providerId="ADAL" clId="{53123166-8374-4A84-99EB-5A7B7649EE85}" dt="2024-07-30T14:03:05.834" v="2" actId="478"/>
          <ac:spMkLst>
            <pc:docMk/>
            <pc:sldMk cId="2395634885" sldId="258"/>
            <ac:spMk id="45" creationId="{5449C9A3-408C-4EB0-FD75-765A72EE520E}"/>
          </ac:spMkLst>
        </pc:spChg>
        <pc:grpChg chg="add mod">
          <ac:chgData name="Des Rosiers, Sarah" userId="a902d833-ec12-4f6e-97d3-f07e8740007b" providerId="ADAL" clId="{53123166-8374-4A84-99EB-5A7B7649EE85}" dt="2024-07-30T14:04:56.982" v="4" actId="1076"/>
          <ac:grpSpMkLst>
            <pc:docMk/>
            <pc:sldMk cId="2395634885" sldId="258"/>
            <ac:grpSpMk id="4" creationId="{3F31405C-CBF7-2712-3E0A-D306A0535079}"/>
          </ac:grpSpMkLst>
        </pc:grpChg>
        <pc:picChg chg="add del mod">
          <ac:chgData name="Des Rosiers, Sarah" userId="a902d833-ec12-4f6e-97d3-f07e8740007b" providerId="ADAL" clId="{53123166-8374-4A84-99EB-5A7B7649EE85}" dt="2024-07-30T14:07:04.598" v="64" actId="478"/>
          <ac:picMkLst>
            <pc:docMk/>
            <pc:sldMk cId="2395634885" sldId="258"/>
            <ac:picMk id="9" creationId="{581E4485-E4E1-8D49-BD95-DF47171C7813}"/>
          </ac:picMkLst>
        </pc:picChg>
        <pc:picChg chg="add mod">
          <ac:chgData name="Des Rosiers, Sarah" userId="a902d833-ec12-4f6e-97d3-f07e8740007b" providerId="ADAL" clId="{53123166-8374-4A84-99EB-5A7B7649EE85}" dt="2024-07-30T14:07:26.024" v="95" actId="1035"/>
          <ac:picMkLst>
            <pc:docMk/>
            <pc:sldMk cId="2395634885" sldId="258"/>
            <ac:picMk id="14" creationId="{09A17584-CBE4-D393-4C9C-2DE1CB4A74E0}"/>
          </ac:picMkLst>
        </pc:picChg>
      </pc:sldChg>
      <pc:sldChg chg="addSp delSp modSp mod">
        <pc:chgData name="Des Rosiers, Sarah" userId="a902d833-ec12-4f6e-97d3-f07e8740007b" providerId="ADAL" clId="{53123166-8374-4A84-99EB-5A7B7649EE85}" dt="2024-07-30T14:12:05.057" v="256" actId="14100"/>
        <pc:sldMkLst>
          <pc:docMk/>
          <pc:sldMk cId="1458080344" sldId="259"/>
        </pc:sldMkLst>
        <pc:spChg chg="del mod">
          <ac:chgData name="Des Rosiers, Sarah" userId="a902d833-ec12-4f6e-97d3-f07e8740007b" providerId="ADAL" clId="{53123166-8374-4A84-99EB-5A7B7649EE85}" dt="2024-07-30T14:10:30.299" v="196" actId="478"/>
          <ac:spMkLst>
            <pc:docMk/>
            <pc:sldMk cId="1458080344" sldId="259"/>
            <ac:spMk id="2" creationId="{8EA1F7EE-AEFE-ECC5-71C8-00CF1E8572DA}"/>
          </ac:spMkLst>
        </pc:spChg>
        <pc:spChg chg="del mod">
          <ac:chgData name="Des Rosiers, Sarah" userId="a902d833-ec12-4f6e-97d3-f07e8740007b" providerId="ADAL" clId="{53123166-8374-4A84-99EB-5A7B7649EE85}" dt="2024-07-30T14:10:30.299" v="196" actId="478"/>
          <ac:spMkLst>
            <pc:docMk/>
            <pc:sldMk cId="1458080344" sldId="259"/>
            <ac:spMk id="5" creationId="{63188674-945D-988F-1347-EBBFE11CE5B6}"/>
          </ac:spMkLst>
        </pc:spChg>
        <pc:spChg chg="add mod">
          <ac:chgData name="Des Rosiers, Sarah" userId="a902d833-ec12-4f6e-97d3-f07e8740007b" providerId="ADAL" clId="{53123166-8374-4A84-99EB-5A7B7649EE85}" dt="2024-07-30T14:11:16.763" v="207" actId="6549"/>
          <ac:spMkLst>
            <pc:docMk/>
            <pc:sldMk cId="1458080344" sldId="259"/>
            <ac:spMk id="6" creationId="{D2AFEA53-CE7E-BA9B-78BD-2F270EE56B1C}"/>
          </ac:spMkLst>
        </pc:spChg>
        <pc:spChg chg="del mod">
          <ac:chgData name="Des Rosiers, Sarah" userId="a902d833-ec12-4f6e-97d3-f07e8740007b" providerId="ADAL" clId="{53123166-8374-4A84-99EB-5A7B7649EE85}" dt="2024-07-30T14:10:30.299" v="196" actId="478"/>
          <ac:spMkLst>
            <pc:docMk/>
            <pc:sldMk cId="1458080344" sldId="259"/>
            <ac:spMk id="8" creationId="{8E9CD0C8-D335-D1D2-5D9F-B4C0D2587F07}"/>
          </ac:spMkLst>
        </pc:spChg>
        <pc:spChg chg="del mod">
          <ac:chgData name="Des Rosiers, Sarah" userId="a902d833-ec12-4f6e-97d3-f07e8740007b" providerId="ADAL" clId="{53123166-8374-4A84-99EB-5A7B7649EE85}" dt="2024-07-30T14:08:27.633" v="97" actId="478"/>
          <ac:spMkLst>
            <pc:docMk/>
            <pc:sldMk cId="1458080344" sldId="259"/>
            <ac:spMk id="11" creationId="{7893982A-7789-A2D5-CD1D-180ACC454FAD}"/>
          </ac:spMkLst>
        </pc:spChg>
        <pc:spChg chg="del mod">
          <ac:chgData name="Des Rosiers, Sarah" userId="a902d833-ec12-4f6e-97d3-f07e8740007b" providerId="ADAL" clId="{53123166-8374-4A84-99EB-5A7B7649EE85}" dt="2024-07-30T14:10:30.299" v="196" actId="478"/>
          <ac:spMkLst>
            <pc:docMk/>
            <pc:sldMk cId="1458080344" sldId="259"/>
            <ac:spMk id="16" creationId="{3A2D7507-D528-AF5A-52D9-30D015479BA1}"/>
          </ac:spMkLst>
        </pc:spChg>
        <pc:spChg chg="del mod">
          <ac:chgData name="Des Rosiers, Sarah" userId="a902d833-ec12-4f6e-97d3-f07e8740007b" providerId="ADAL" clId="{53123166-8374-4A84-99EB-5A7B7649EE85}" dt="2024-07-30T14:10:30.299" v="196" actId="478"/>
          <ac:spMkLst>
            <pc:docMk/>
            <pc:sldMk cId="1458080344" sldId="259"/>
            <ac:spMk id="17" creationId="{2127167F-00AD-D8FC-B4EE-2DEF556AD6C9}"/>
          </ac:spMkLst>
        </pc:spChg>
        <pc:spChg chg="add mod">
          <ac:chgData name="Des Rosiers, Sarah" userId="a902d833-ec12-4f6e-97d3-f07e8740007b" providerId="ADAL" clId="{53123166-8374-4A84-99EB-5A7B7649EE85}" dt="2024-07-30T14:12:05.057" v="256" actId="14100"/>
          <ac:spMkLst>
            <pc:docMk/>
            <pc:sldMk cId="1458080344" sldId="259"/>
            <ac:spMk id="22" creationId="{DB2F0C22-8FF5-A004-F750-D3E175494D07}"/>
          </ac:spMkLst>
        </pc:spChg>
        <pc:grpChg chg="del mod">
          <ac:chgData name="Des Rosiers, Sarah" userId="a902d833-ec12-4f6e-97d3-f07e8740007b" providerId="ADAL" clId="{53123166-8374-4A84-99EB-5A7B7649EE85}" dt="2024-07-30T14:10:30.299" v="196" actId="478"/>
          <ac:grpSpMkLst>
            <pc:docMk/>
            <pc:sldMk cId="1458080344" sldId="259"/>
            <ac:grpSpMk id="9" creationId="{31DC9673-D688-0A7A-6C70-10ADF9800B10}"/>
          </ac:grpSpMkLst>
        </pc:grpChg>
        <pc:grpChg chg="del mod">
          <ac:chgData name="Des Rosiers, Sarah" userId="a902d833-ec12-4f6e-97d3-f07e8740007b" providerId="ADAL" clId="{53123166-8374-4A84-99EB-5A7B7649EE85}" dt="2024-07-30T14:10:30.299" v="196" actId="478"/>
          <ac:grpSpMkLst>
            <pc:docMk/>
            <pc:sldMk cId="1458080344" sldId="259"/>
            <ac:grpSpMk id="12" creationId="{DA9E7FCD-5DCF-E202-C5DE-81B997BBCC59}"/>
          </ac:grpSpMkLst>
        </pc:grpChg>
        <pc:grpChg chg="del mod">
          <ac:chgData name="Des Rosiers, Sarah" userId="a902d833-ec12-4f6e-97d3-f07e8740007b" providerId="ADAL" clId="{53123166-8374-4A84-99EB-5A7B7649EE85}" dt="2024-07-30T14:09:32.028" v="154" actId="478"/>
          <ac:grpSpMkLst>
            <pc:docMk/>
            <pc:sldMk cId="1458080344" sldId="259"/>
            <ac:grpSpMk id="18" creationId="{E49C21FC-F6F8-EF1B-0424-45A867A78A41}"/>
          </ac:grpSpMkLst>
        </pc:grpChg>
        <pc:picChg chg="del mod">
          <ac:chgData name="Des Rosiers, Sarah" userId="a902d833-ec12-4f6e-97d3-f07e8740007b" providerId="ADAL" clId="{53123166-8374-4A84-99EB-5A7B7649EE85}" dt="2024-07-30T14:10:30.299" v="196" actId="478"/>
          <ac:picMkLst>
            <pc:docMk/>
            <pc:sldMk cId="1458080344" sldId="259"/>
            <ac:picMk id="3" creationId="{3579C2E2-6E18-5BCF-338A-02BBB3BCDE1C}"/>
          </ac:picMkLst>
        </pc:picChg>
        <pc:picChg chg="add mod">
          <ac:chgData name="Des Rosiers, Sarah" userId="a902d833-ec12-4f6e-97d3-f07e8740007b" providerId="ADAL" clId="{53123166-8374-4A84-99EB-5A7B7649EE85}" dt="2024-07-30T14:11:21.870" v="230" actId="1035"/>
          <ac:picMkLst>
            <pc:docMk/>
            <pc:sldMk cId="1458080344" sldId="259"/>
            <ac:picMk id="7" creationId="{FEBECABA-3D4C-7FC8-CEE5-A0BE6311D2F6}"/>
          </ac:picMkLst>
        </pc:picChg>
      </pc:sldChg>
      <pc:sldChg chg="addSp modSp mod">
        <pc:chgData name="Des Rosiers, Sarah" userId="a902d833-ec12-4f6e-97d3-f07e8740007b" providerId="ADAL" clId="{53123166-8374-4A84-99EB-5A7B7649EE85}" dt="2024-07-30T14:28:49.266" v="828" actId="113"/>
        <pc:sldMkLst>
          <pc:docMk/>
          <pc:sldMk cId="1736246299" sldId="260"/>
        </pc:sldMkLst>
        <pc:spChg chg="mod">
          <ac:chgData name="Des Rosiers, Sarah" userId="a902d833-ec12-4f6e-97d3-f07e8740007b" providerId="ADAL" clId="{53123166-8374-4A84-99EB-5A7B7649EE85}" dt="2024-07-30T14:15:30.217" v="368" actId="6549"/>
          <ac:spMkLst>
            <pc:docMk/>
            <pc:sldMk cId="1736246299" sldId="260"/>
            <ac:spMk id="2" creationId="{C1B6FF9F-D3CA-DF4D-4545-D59B0DAA7432}"/>
          </ac:spMkLst>
        </pc:spChg>
        <pc:spChg chg="add mod">
          <ac:chgData name="Des Rosiers, Sarah" userId="a902d833-ec12-4f6e-97d3-f07e8740007b" providerId="ADAL" clId="{53123166-8374-4A84-99EB-5A7B7649EE85}" dt="2024-07-30T14:28:49.266" v="828" actId="113"/>
          <ac:spMkLst>
            <pc:docMk/>
            <pc:sldMk cId="1736246299" sldId="260"/>
            <ac:spMk id="5" creationId="{F15E9A8B-65D6-9494-E87E-65DE3C6D1FD0}"/>
          </ac:spMkLst>
        </pc:spChg>
        <pc:spChg chg="mod">
          <ac:chgData name="Des Rosiers, Sarah" userId="a902d833-ec12-4f6e-97d3-f07e8740007b" providerId="ADAL" clId="{53123166-8374-4A84-99EB-5A7B7649EE85}" dt="2024-07-30T14:16:18.825" v="398" actId="14100"/>
          <ac:spMkLst>
            <pc:docMk/>
            <pc:sldMk cId="1736246299" sldId="260"/>
            <ac:spMk id="27" creationId="{25F98CB4-E650-7C50-E659-D20533D8C2BD}"/>
          </ac:spMkLst>
        </pc:spChg>
        <pc:spChg chg="mod">
          <ac:chgData name="Des Rosiers, Sarah" userId="a902d833-ec12-4f6e-97d3-f07e8740007b" providerId="ADAL" clId="{53123166-8374-4A84-99EB-5A7B7649EE85}" dt="2024-07-30T14:16:18.825" v="398" actId="14100"/>
          <ac:spMkLst>
            <pc:docMk/>
            <pc:sldMk cId="1736246299" sldId="260"/>
            <ac:spMk id="28" creationId="{543E6992-7017-5700-771F-16FB7EF3D1E5}"/>
          </ac:spMkLst>
        </pc:spChg>
        <pc:spChg chg="mod">
          <ac:chgData name="Des Rosiers, Sarah" userId="a902d833-ec12-4f6e-97d3-f07e8740007b" providerId="ADAL" clId="{53123166-8374-4A84-99EB-5A7B7649EE85}" dt="2024-07-30T14:16:18.825" v="398" actId="14100"/>
          <ac:spMkLst>
            <pc:docMk/>
            <pc:sldMk cId="1736246299" sldId="260"/>
            <ac:spMk id="29" creationId="{7C241F14-183A-C1A6-DCD7-ACF25531812E}"/>
          </ac:spMkLst>
        </pc:spChg>
        <pc:spChg chg="mod">
          <ac:chgData name="Des Rosiers, Sarah" userId="a902d833-ec12-4f6e-97d3-f07e8740007b" providerId="ADAL" clId="{53123166-8374-4A84-99EB-5A7B7649EE85}" dt="2024-07-30T14:16:52.325" v="421" actId="14100"/>
          <ac:spMkLst>
            <pc:docMk/>
            <pc:sldMk cId="1736246299" sldId="260"/>
            <ac:spMk id="41" creationId="{645A2AE6-9BB8-D721-879E-CAEA0C65F12E}"/>
          </ac:spMkLst>
        </pc:spChg>
        <pc:spChg chg="mod">
          <ac:chgData name="Des Rosiers, Sarah" userId="a902d833-ec12-4f6e-97d3-f07e8740007b" providerId="ADAL" clId="{53123166-8374-4A84-99EB-5A7B7649EE85}" dt="2024-07-30T14:17:44.891" v="448" actId="14100"/>
          <ac:spMkLst>
            <pc:docMk/>
            <pc:sldMk cId="1736246299" sldId="260"/>
            <ac:spMk id="42" creationId="{6845C7B2-C2F7-D2FC-9DD7-21B975E50280}"/>
          </ac:spMkLst>
        </pc:spChg>
        <pc:spChg chg="mod">
          <ac:chgData name="Des Rosiers, Sarah" userId="a902d833-ec12-4f6e-97d3-f07e8740007b" providerId="ADAL" clId="{53123166-8374-4A84-99EB-5A7B7649EE85}" dt="2024-07-30T14:17:52.479" v="449" actId="14100"/>
          <ac:spMkLst>
            <pc:docMk/>
            <pc:sldMk cId="1736246299" sldId="260"/>
            <ac:spMk id="43" creationId="{03220A5C-3669-8A1E-5C57-A1D9AFE6CF69}"/>
          </ac:spMkLst>
        </pc:spChg>
        <pc:spChg chg="mod">
          <ac:chgData name="Des Rosiers, Sarah" userId="a902d833-ec12-4f6e-97d3-f07e8740007b" providerId="ADAL" clId="{53123166-8374-4A84-99EB-5A7B7649EE85}" dt="2024-07-30T14:17:32.114" v="446" actId="14100"/>
          <ac:spMkLst>
            <pc:docMk/>
            <pc:sldMk cId="1736246299" sldId="260"/>
            <ac:spMk id="44" creationId="{88BF2C08-66FB-CACD-7489-5D7CB6B75D6C}"/>
          </ac:spMkLst>
        </pc:spChg>
        <pc:spChg chg="mod">
          <ac:chgData name="Des Rosiers, Sarah" userId="a902d833-ec12-4f6e-97d3-f07e8740007b" providerId="ADAL" clId="{53123166-8374-4A84-99EB-5A7B7649EE85}" dt="2024-07-30T14:16:44.974" v="420" actId="14100"/>
          <ac:spMkLst>
            <pc:docMk/>
            <pc:sldMk cId="1736246299" sldId="260"/>
            <ac:spMk id="72" creationId="{CC3D4ECE-B858-AEB4-6FD2-13F428D15AFC}"/>
          </ac:spMkLst>
        </pc:spChg>
        <pc:spChg chg="mod">
          <ac:chgData name="Des Rosiers, Sarah" userId="a902d833-ec12-4f6e-97d3-f07e8740007b" providerId="ADAL" clId="{53123166-8374-4A84-99EB-5A7B7649EE85}" dt="2024-07-30T14:16:44.974" v="420" actId="14100"/>
          <ac:spMkLst>
            <pc:docMk/>
            <pc:sldMk cId="1736246299" sldId="260"/>
            <ac:spMk id="73" creationId="{44E4A2FA-7303-9894-760E-7968E643B60E}"/>
          </ac:spMkLst>
        </pc:spChg>
        <pc:spChg chg="mod">
          <ac:chgData name="Des Rosiers, Sarah" userId="a902d833-ec12-4f6e-97d3-f07e8740007b" providerId="ADAL" clId="{53123166-8374-4A84-99EB-5A7B7649EE85}" dt="2024-07-30T14:16:44.974" v="420" actId="14100"/>
          <ac:spMkLst>
            <pc:docMk/>
            <pc:sldMk cId="1736246299" sldId="260"/>
            <ac:spMk id="74" creationId="{61EFB6B0-46CC-1542-45A7-818F0883E370}"/>
          </ac:spMkLst>
        </pc:spChg>
        <pc:spChg chg="mod">
          <ac:chgData name="Des Rosiers, Sarah" userId="a902d833-ec12-4f6e-97d3-f07e8740007b" providerId="ADAL" clId="{53123166-8374-4A84-99EB-5A7B7649EE85}" dt="2024-07-30T14:17:24.472" v="445" actId="1035"/>
          <ac:spMkLst>
            <pc:docMk/>
            <pc:sldMk cId="1736246299" sldId="260"/>
            <ac:spMk id="76" creationId="{8B5E42C2-99EF-4C67-29FD-429907A884FB}"/>
          </ac:spMkLst>
        </pc:spChg>
        <pc:grpChg chg="mod">
          <ac:chgData name="Des Rosiers, Sarah" userId="a902d833-ec12-4f6e-97d3-f07e8740007b" providerId="ADAL" clId="{53123166-8374-4A84-99EB-5A7B7649EE85}" dt="2024-07-30T14:21:27.625" v="515" actId="1036"/>
          <ac:grpSpMkLst>
            <pc:docMk/>
            <pc:sldMk cId="1736246299" sldId="260"/>
            <ac:grpSpMk id="3" creationId="{98E4811D-F46B-198F-3129-31DE10027966}"/>
          </ac:grpSpMkLst>
        </pc:grpChg>
      </pc:sldChg>
      <pc:sldChg chg="del">
        <pc:chgData name="Des Rosiers, Sarah" userId="a902d833-ec12-4f6e-97d3-f07e8740007b" providerId="ADAL" clId="{53123166-8374-4A84-99EB-5A7B7649EE85}" dt="2024-07-30T14:02:39.982" v="0" actId="47"/>
        <pc:sldMkLst>
          <pc:docMk/>
          <pc:sldMk cId="2402369262" sldId="261"/>
        </pc:sldMkLst>
      </pc:sldChg>
      <pc:sldChg chg="del">
        <pc:chgData name="Des Rosiers, Sarah" userId="a902d833-ec12-4f6e-97d3-f07e8740007b" providerId="ADAL" clId="{53123166-8374-4A84-99EB-5A7B7649EE85}" dt="2024-07-30T14:29:05.016" v="830" actId="47"/>
        <pc:sldMkLst>
          <pc:docMk/>
          <pc:sldMk cId="2158548376" sldId="263"/>
        </pc:sldMkLst>
      </pc:sldChg>
      <pc:sldChg chg="del">
        <pc:chgData name="Des Rosiers, Sarah" userId="a902d833-ec12-4f6e-97d3-f07e8740007b" providerId="ADAL" clId="{53123166-8374-4A84-99EB-5A7B7649EE85}" dt="2024-07-30T14:29:05.841" v="831" actId="47"/>
        <pc:sldMkLst>
          <pc:docMk/>
          <pc:sldMk cId="84306964" sldId="264"/>
        </pc:sldMkLst>
      </pc:sldChg>
      <pc:sldChg chg="del">
        <pc:chgData name="Des Rosiers, Sarah" userId="a902d833-ec12-4f6e-97d3-f07e8740007b" providerId="ADAL" clId="{53123166-8374-4A84-99EB-5A7B7649EE85}" dt="2024-07-30T14:29:02.800" v="829" actId="47"/>
        <pc:sldMkLst>
          <pc:docMk/>
          <pc:sldMk cId="57124320" sldId="265"/>
        </pc:sldMkLst>
      </pc:sldChg>
      <pc:sldChg chg="del">
        <pc:chgData name="Des Rosiers, Sarah" userId="a902d833-ec12-4f6e-97d3-f07e8740007b" providerId="ADAL" clId="{53123166-8374-4A84-99EB-5A7B7649EE85}" dt="2024-07-30T14:29:06.309" v="832" actId="47"/>
        <pc:sldMkLst>
          <pc:docMk/>
          <pc:sldMk cId="470184070" sldId="266"/>
        </pc:sldMkLst>
      </pc:sldChg>
      <pc:sldChg chg="del">
        <pc:chgData name="Des Rosiers, Sarah" userId="a902d833-ec12-4f6e-97d3-f07e8740007b" providerId="ADAL" clId="{53123166-8374-4A84-99EB-5A7B7649EE85}" dt="2024-07-30T14:29:36.255" v="833" actId="47"/>
        <pc:sldMkLst>
          <pc:docMk/>
          <pc:sldMk cId="1722912552" sldId="267"/>
        </pc:sldMkLst>
      </pc:sldChg>
      <pc:sldChg chg="del">
        <pc:chgData name="Des Rosiers, Sarah" userId="a902d833-ec12-4f6e-97d3-f07e8740007b" providerId="ADAL" clId="{53123166-8374-4A84-99EB-5A7B7649EE85}" dt="2024-07-30T14:29:36.255" v="833" actId="47"/>
        <pc:sldMkLst>
          <pc:docMk/>
          <pc:sldMk cId="246734053" sldId="268"/>
        </pc:sldMkLst>
      </pc:sldChg>
      <pc:sldChg chg="del">
        <pc:chgData name="Des Rosiers, Sarah" userId="a902d833-ec12-4f6e-97d3-f07e8740007b" providerId="ADAL" clId="{53123166-8374-4A84-99EB-5A7B7649EE85}" dt="2024-07-30T14:29:36.255" v="833" actId="47"/>
        <pc:sldMkLst>
          <pc:docMk/>
          <pc:sldMk cId="3128284528" sldId="269"/>
        </pc:sldMkLst>
      </pc:sldChg>
      <pc:sldChg chg="del">
        <pc:chgData name="Des Rosiers, Sarah" userId="a902d833-ec12-4f6e-97d3-f07e8740007b" providerId="ADAL" clId="{53123166-8374-4A84-99EB-5A7B7649EE85}" dt="2024-07-30T14:29:36.255" v="833" actId="47"/>
        <pc:sldMkLst>
          <pc:docMk/>
          <pc:sldMk cId="3873039129" sldId="270"/>
        </pc:sldMkLst>
      </pc:sldChg>
      <pc:sldChg chg="del">
        <pc:chgData name="Des Rosiers, Sarah" userId="a902d833-ec12-4f6e-97d3-f07e8740007b" providerId="ADAL" clId="{53123166-8374-4A84-99EB-5A7B7649EE85}" dt="2024-07-30T14:29:36.255" v="833" actId="47"/>
        <pc:sldMkLst>
          <pc:docMk/>
          <pc:sldMk cId="2235544674" sldId="271"/>
        </pc:sldMkLst>
      </pc:sldChg>
      <pc:sldChg chg="del">
        <pc:chgData name="Des Rosiers, Sarah" userId="a902d833-ec12-4f6e-97d3-f07e8740007b" providerId="ADAL" clId="{53123166-8374-4A84-99EB-5A7B7649EE85}" dt="2024-07-30T14:29:36.255" v="833" actId="47"/>
        <pc:sldMkLst>
          <pc:docMk/>
          <pc:sldMk cId="2585392524" sldId="272"/>
        </pc:sldMkLst>
      </pc:sldChg>
      <pc:sldChg chg="del">
        <pc:chgData name="Des Rosiers, Sarah" userId="a902d833-ec12-4f6e-97d3-f07e8740007b" providerId="ADAL" clId="{53123166-8374-4A84-99EB-5A7B7649EE85}" dt="2024-07-30T14:29:36.255" v="833" actId="47"/>
        <pc:sldMkLst>
          <pc:docMk/>
          <pc:sldMk cId="910553086" sldId="273"/>
        </pc:sldMkLst>
      </pc:sldChg>
      <pc:sldChg chg="del">
        <pc:chgData name="Des Rosiers, Sarah" userId="a902d833-ec12-4f6e-97d3-f07e8740007b" providerId="ADAL" clId="{53123166-8374-4A84-99EB-5A7B7649EE85}" dt="2024-07-30T14:29:36.255" v="833" actId="47"/>
        <pc:sldMkLst>
          <pc:docMk/>
          <pc:sldMk cId="1155541182" sldId="274"/>
        </pc:sldMkLst>
      </pc:sldChg>
      <pc:sldChg chg="del">
        <pc:chgData name="Des Rosiers, Sarah" userId="a902d833-ec12-4f6e-97d3-f07e8740007b" providerId="ADAL" clId="{53123166-8374-4A84-99EB-5A7B7649EE85}" dt="2024-07-30T14:29:36.255" v="833" actId="47"/>
        <pc:sldMkLst>
          <pc:docMk/>
          <pc:sldMk cId="1609768277" sldId="275"/>
        </pc:sldMkLst>
      </pc:sldChg>
      <pc:sldChg chg="del">
        <pc:chgData name="Des Rosiers, Sarah" userId="a902d833-ec12-4f6e-97d3-f07e8740007b" providerId="ADAL" clId="{53123166-8374-4A84-99EB-5A7B7649EE85}" dt="2024-07-30T14:29:36.255" v="833" actId="47"/>
        <pc:sldMkLst>
          <pc:docMk/>
          <pc:sldMk cId="623011030" sldId="276"/>
        </pc:sldMkLst>
      </pc:sldChg>
      <pc:sldChg chg="del">
        <pc:chgData name="Des Rosiers, Sarah" userId="a902d833-ec12-4f6e-97d3-f07e8740007b" providerId="ADAL" clId="{53123166-8374-4A84-99EB-5A7B7649EE85}" dt="2024-07-30T14:29:36.255" v="833" actId="47"/>
        <pc:sldMkLst>
          <pc:docMk/>
          <pc:sldMk cId="3255941296" sldId="277"/>
        </pc:sldMkLst>
      </pc:sldChg>
      <pc:sldChg chg="del">
        <pc:chgData name="Des Rosiers, Sarah" userId="a902d833-ec12-4f6e-97d3-f07e8740007b" providerId="ADAL" clId="{53123166-8374-4A84-99EB-5A7B7649EE85}" dt="2024-07-30T14:29:36.255" v="833" actId="47"/>
        <pc:sldMkLst>
          <pc:docMk/>
          <pc:sldMk cId="529116146" sldId="278"/>
        </pc:sldMkLst>
      </pc:sldChg>
      <pc:sldChg chg="del">
        <pc:chgData name="Des Rosiers, Sarah" userId="a902d833-ec12-4f6e-97d3-f07e8740007b" providerId="ADAL" clId="{53123166-8374-4A84-99EB-5A7B7649EE85}" dt="2024-07-30T14:29:36.255" v="833" actId="47"/>
        <pc:sldMkLst>
          <pc:docMk/>
          <pc:sldMk cId="1442147507" sldId="279"/>
        </pc:sldMkLst>
      </pc:sldChg>
      <pc:sldChg chg="del">
        <pc:chgData name="Des Rosiers, Sarah" userId="a902d833-ec12-4f6e-97d3-f07e8740007b" providerId="ADAL" clId="{53123166-8374-4A84-99EB-5A7B7649EE85}" dt="2024-07-30T14:29:36.255" v="833" actId="47"/>
        <pc:sldMkLst>
          <pc:docMk/>
          <pc:sldMk cId="3306267251" sldId="280"/>
        </pc:sldMkLst>
      </pc:sldChg>
      <pc:sldChg chg="del">
        <pc:chgData name="Des Rosiers, Sarah" userId="a902d833-ec12-4f6e-97d3-f07e8740007b" providerId="ADAL" clId="{53123166-8374-4A84-99EB-5A7B7649EE85}" dt="2024-07-30T14:29:36.255" v="833" actId="47"/>
        <pc:sldMkLst>
          <pc:docMk/>
          <pc:sldMk cId="1176418413" sldId="281"/>
        </pc:sldMkLst>
      </pc:sldChg>
      <pc:sldChg chg="del">
        <pc:chgData name="Des Rosiers, Sarah" userId="a902d833-ec12-4f6e-97d3-f07e8740007b" providerId="ADAL" clId="{53123166-8374-4A84-99EB-5A7B7649EE85}" dt="2024-07-30T14:29:36.255" v="833" actId="47"/>
        <pc:sldMkLst>
          <pc:docMk/>
          <pc:sldMk cId="1166352322" sldId="282"/>
        </pc:sldMkLst>
      </pc:sldChg>
      <pc:sldChg chg="del">
        <pc:chgData name="Des Rosiers, Sarah" userId="a902d833-ec12-4f6e-97d3-f07e8740007b" providerId="ADAL" clId="{53123166-8374-4A84-99EB-5A7B7649EE85}" dt="2024-07-30T14:29:36.255" v="833" actId="47"/>
        <pc:sldMkLst>
          <pc:docMk/>
          <pc:sldMk cId="1060937828" sldId="283"/>
        </pc:sldMkLst>
      </pc:sldChg>
      <pc:sldChg chg="del">
        <pc:chgData name="Des Rosiers, Sarah" userId="a902d833-ec12-4f6e-97d3-f07e8740007b" providerId="ADAL" clId="{53123166-8374-4A84-99EB-5A7B7649EE85}" dt="2024-07-30T14:29:36.255" v="833" actId="47"/>
        <pc:sldMkLst>
          <pc:docMk/>
          <pc:sldMk cId="4127141770" sldId="284"/>
        </pc:sldMkLst>
      </pc:sldChg>
      <pc:sldChg chg="del">
        <pc:chgData name="Des Rosiers, Sarah" userId="a902d833-ec12-4f6e-97d3-f07e8740007b" providerId="ADAL" clId="{53123166-8374-4A84-99EB-5A7B7649EE85}" dt="2024-07-30T14:29:36.255" v="833" actId="47"/>
        <pc:sldMkLst>
          <pc:docMk/>
          <pc:sldMk cId="3906411866" sldId="285"/>
        </pc:sldMkLst>
      </pc:sldChg>
      <pc:sldChg chg="del">
        <pc:chgData name="Des Rosiers, Sarah" userId="a902d833-ec12-4f6e-97d3-f07e8740007b" providerId="ADAL" clId="{53123166-8374-4A84-99EB-5A7B7649EE85}" dt="2024-07-30T14:29:36.255" v="833" actId="47"/>
        <pc:sldMkLst>
          <pc:docMk/>
          <pc:sldMk cId="3967912117" sldId="286"/>
        </pc:sldMkLst>
      </pc:sldChg>
      <pc:sldChg chg="del">
        <pc:chgData name="Des Rosiers, Sarah" userId="a902d833-ec12-4f6e-97d3-f07e8740007b" providerId="ADAL" clId="{53123166-8374-4A84-99EB-5A7B7649EE85}" dt="2024-07-30T14:29:36.255" v="833" actId="47"/>
        <pc:sldMkLst>
          <pc:docMk/>
          <pc:sldMk cId="3723303891" sldId="287"/>
        </pc:sldMkLst>
      </pc:sldChg>
      <pc:sldChg chg="del">
        <pc:chgData name="Des Rosiers, Sarah" userId="a902d833-ec12-4f6e-97d3-f07e8740007b" providerId="ADAL" clId="{53123166-8374-4A84-99EB-5A7B7649EE85}" dt="2024-07-30T14:29:36.255" v="833" actId="47"/>
        <pc:sldMkLst>
          <pc:docMk/>
          <pc:sldMk cId="1685728219" sldId="288"/>
        </pc:sldMkLst>
      </pc:sldChg>
      <pc:sldChg chg="del">
        <pc:chgData name="Des Rosiers, Sarah" userId="a902d833-ec12-4f6e-97d3-f07e8740007b" providerId="ADAL" clId="{53123166-8374-4A84-99EB-5A7B7649EE85}" dt="2024-07-30T14:29:36.255" v="833" actId="47"/>
        <pc:sldMkLst>
          <pc:docMk/>
          <pc:sldMk cId="2325813059" sldId="289"/>
        </pc:sldMkLst>
      </pc:sldChg>
      <pc:sldChg chg="del">
        <pc:chgData name="Des Rosiers, Sarah" userId="a902d833-ec12-4f6e-97d3-f07e8740007b" providerId="ADAL" clId="{53123166-8374-4A84-99EB-5A7B7649EE85}" dt="2024-07-30T14:29:36.255" v="833" actId="47"/>
        <pc:sldMkLst>
          <pc:docMk/>
          <pc:sldMk cId="4157244484" sldId="290"/>
        </pc:sldMkLst>
      </pc:sldChg>
      <pc:sldChg chg="del">
        <pc:chgData name="Des Rosiers, Sarah" userId="a902d833-ec12-4f6e-97d3-f07e8740007b" providerId="ADAL" clId="{53123166-8374-4A84-99EB-5A7B7649EE85}" dt="2024-07-30T14:29:36.255" v="833" actId="47"/>
        <pc:sldMkLst>
          <pc:docMk/>
          <pc:sldMk cId="3875428015" sldId="291"/>
        </pc:sldMkLst>
      </pc:sldChg>
      <pc:sldChg chg="del">
        <pc:chgData name="Des Rosiers, Sarah" userId="a902d833-ec12-4f6e-97d3-f07e8740007b" providerId="ADAL" clId="{53123166-8374-4A84-99EB-5A7B7649EE85}" dt="2024-07-30T14:29:36.255" v="833" actId="47"/>
        <pc:sldMkLst>
          <pc:docMk/>
          <pc:sldMk cId="1598611651" sldId="292"/>
        </pc:sldMkLst>
      </pc:sldChg>
      <pc:sldChg chg="del">
        <pc:chgData name="Des Rosiers, Sarah" userId="a902d833-ec12-4f6e-97d3-f07e8740007b" providerId="ADAL" clId="{53123166-8374-4A84-99EB-5A7B7649EE85}" dt="2024-07-30T14:29:36.255" v="833" actId="47"/>
        <pc:sldMkLst>
          <pc:docMk/>
          <pc:sldMk cId="4184144548" sldId="293"/>
        </pc:sldMkLst>
      </pc:sldChg>
      <pc:sldChg chg="del">
        <pc:chgData name="Des Rosiers, Sarah" userId="a902d833-ec12-4f6e-97d3-f07e8740007b" providerId="ADAL" clId="{53123166-8374-4A84-99EB-5A7B7649EE85}" dt="2024-07-30T14:29:36.255" v="833" actId="47"/>
        <pc:sldMkLst>
          <pc:docMk/>
          <pc:sldMk cId="2521575131" sldId="294"/>
        </pc:sldMkLst>
      </pc:sldChg>
      <pc:sldChg chg="del">
        <pc:chgData name="Des Rosiers, Sarah" userId="a902d833-ec12-4f6e-97d3-f07e8740007b" providerId="ADAL" clId="{53123166-8374-4A84-99EB-5A7B7649EE85}" dt="2024-07-30T14:29:36.255" v="833" actId="47"/>
        <pc:sldMkLst>
          <pc:docMk/>
          <pc:sldMk cId="2478300703" sldId="295"/>
        </pc:sldMkLst>
      </pc:sldChg>
      <pc:sldChg chg="del">
        <pc:chgData name="Des Rosiers, Sarah" userId="a902d833-ec12-4f6e-97d3-f07e8740007b" providerId="ADAL" clId="{53123166-8374-4A84-99EB-5A7B7649EE85}" dt="2024-07-30T14:29:36.255" v="833" actId="47"/>
        <pc:sldMkLst>
          <pc:docMk/>
          <pc:sldMk cId="2691677713" sldId="296"/>
        </pc:sldMkLst>
      </pc:sldChg>
      <pc:sldChg chg="del">
        <pc:chgData name="Des Rosiers, Sarah" userId="a902d833-ec12-4f6e-97d3-f07e8740007b" providerId="ADAL" clId="{53123166-8374-4A84-99EB-5A7B7649EE85}" dt="2024-07-30T14:29:36.255" v="833" actId="47"/>
        <pc:sldMkLst>
          <pc:docMk/>
          <pc:sldMk cId="2934134644" sldId="297"/>
        </pc:sldMkLst>
      </pc:sldChg>
      <pc:sldChg chg="del">
        <pc:chgData name="Des Rosiers, Sarah" userId="a902d833-ec12-4f6e-97d3-f07e8740007b" providerId="ADAL" clId="{53123166-8374-4A84-99EB-5A7B7649EE85}" dt="2024-07-30T14:29:36.255" v="833" actId="47"/>
        <pc:sldMkLst>
          <pc:docMk/>
          <pc:sldMk cId="3826823637" sldId="298"/>
        </pc:sldMkLst>
      </pc:sldChg>
      <pc:sldChg chg="del">
        <pc:chgData name="Des Rosiers, Sarah" userId="a902d833-ec12-4f6e-97d3-f07e8740007b" providerId="ADAL" clId="{53123166-8374-4A84-99EB-5A7B7649EE85}" dt="2024-07-30T14:29:36.255" v="833" actId="47"/>
        <pc:sldMkLst>
          <pc:docMk/>
          <pc:sldMk cId="2791911665" sldId="299"/>
        </pc:sldMkLst>
      </pc:sldChg>
      <pc:sldChg chg="del">
        <pc:chgData name="Des Rosiers, Sarah" userId="a902d833-ec12-4f6e-97d3-f07e8740007b" providerId="ADAL" clId="{53123166-8374-4A84-99EB-5A7B7649EE85}" dt="2024-07-30T14:29:36.255" v="833" actId="47"/>
        <pc:sldMkLst>
          <pc:docMk/>
          <pc:sldMk cId="1697954337" sldId="300"/>
        </pc:sldMkLst>
      </pc:sldChg>
      <pc:sldChg chg="del">
        <pc:chgData name="Des Rosiers, Sarah" userId="a902d833-ec12-4f6e-97d3-f07e8740007b" providerId="ADAL" clId="{53123166-8374-4A84-99EB-5A7B7649EE85}" dt="2024-07-30T14:29:36.255" v="833" actId="47"/>
        <pc:sldMkLst>
          <pc:docMk/>
          <pc:sldMk cId="3747469015" sldId="301"/>
        </pc:sldMkLst>
      </pc:sldChg>
      <pc:sldChg chg="del">
        <pc:chgData name="Des Rosiers, Sarah" userId="a902d833-ec12-4f6e-97d3-f07e8740007b" providerId="ADAL" clId="{53123166-8374-4A84-99EB-5A7B7649EE85}" dt="2024-07-30T14:29:36.255" v="833" actId="47"/>
        <pc:sldMkLst>
          <pc:docMk/>
          <pc:sldMk cId="4053053508" sldId="302"/>
        </pc:sldMkLst>
      </pc:sldChg>
      <pc:sldChg chg="del">
        <pc:chgData name="Des Rosiers, Sarah" userId="a902d833-ec12-4f6e-97d3-f07e8740007b" providerId="ADAL" clId="{53123166-8374-4A84-99EB-5A7B7649EE85}" dt="2024-07-30T14:29:36.255" v="833" actId="47"/>
        <pc:sldMkLst>
          <pc:docMk/>
          <pc:sldMk cId="2367996464" sldId="303"/>
        </pc:sldMkLst>
      </pc:sldChg>
      <pc:sldChg chg="del">
        <pc:chgData name="Des Rosiers, Sarah" userId="a902d833-ec12-4f6e-97d3-f07e8740007b" providerId="ADAL" clId="{53123166-8374-4A84-99EB-5A7B7649EE85}" dt="2024-07-30T14:29:36.255" v="833" actId="47"/>
        <pc:sldMkLst>
          <pc:docMk/>
          <pc:sldMk cId="3746586356" sldId="304"/>
        </pc:sldMkLst>
      </pc:sldChg>
      <pc:sldChg chg="del">
        <pc:chgData name="Des Rosiers, Sarah" userId="a902d833-ec12-4f6e-97d3-f07e8740007b" providerId="ADAL" clId="{53123166-8374-4A84-99EB-5A7B7649EE85}" dt="2024-07-30T14:29:36.255" v="833" actId="47"/>
        <pc:sldMkLst>
          <pc:docMk/>
          <pc:sldMk cId="140720541" sldId="305"/>
        </pc:sldMkLst>
      </pc:sldChg>
      <pc:sldChg chg="del">
        <pc:chgData name="Des Rosiers, Sarah" userId="a902d833-ec12-4f6e-97d3-f07e8740007b" providerId="ADAL" clId="{53123166-8374-4A84-99EB-5A7B7649EE85}" dt="2024-07-30T14:29:36.255" v="833" actId="47"/>
        <pc:sldMkLst>
          <pc:docMk/>
          <pc:sldMk cId="1092102534" sldId="306"/>
        </pc:sldMkLst>
      </pc:sldChg>
      <pc:sldChg chg="del">
        <pc:chgData name="Des Rosiers, Sarah" userId="a902d833-ec12-4f6e-97d3-f07e8740007b" providerId="ADAL" clId="{53123166-8374-4A84-99EB-5A7B7649EE85}" dt="2024-07-30T14:29:36.255" v="833" actId="47"/>
        <pc:sldMkLst>
          <pc:docMk/>
          <pc:sldMk cId="1104077622" sldId="307"/>
        </pc:sldMkLst>
      </pc:sldChg>
      <pc:sldChg chg="del">
        <pc:chgData name="Des Rosiers, Sarah" userId="a902d833-ec12-4f6e-97d3-f07e8740007b" providerId="ADAL" clId="{53123166-8374-4A84-99EB-5A7B7649EE85}" dt="2024-07-30T14:29:36.255" v="833" actId="47"/>
        <pc:sldMkLst>
          <pc:docMk/>
          <pc:sldMk cId="3949139284" sldId="308"/>
        </pc:sldMkLst>
      </pc:sldChg>
      <pc:sldChg chg="del">
        <pc:chgData name="Des Rosiers, Sarah" userId="a902d833-ec12-4f6e-97d3-f07e8740007b" providerId="ADAL" clId="{53123166-8374-4A84-99EB-5A7B7649EE85}" dt="2024-07-30T14:29:44.626" v="834" actId="47"/>
        <pc:sldMkLst>
          <pc:docMk/>
          <pc:sldMk cId="985212202" sldId="309"/>
        </pc:sldMkLst>
      </pc:sldChg>
      <pc:sldChg chg="del">
        <pc:chgData name="Des Rosiers, Sarah" userId="a902d833-ec12-4f6e-97d3-f07e8740007b" providerId="ADAL" clId="{53123166-8374-4A84-99EB-5A7B7649EE85}" dt="2024-07-30T14:29:44.626" v="834" actId="47"/>
        <pc:sldMkLst>
          <pc:docMk/>
          <pc:sldMk cId="4263345809" sldId="324"/>
        </pc:sldMkLst>
      </pc:sldChg>
      <pc:sldChg chg="del">
        <pc:chgData name="Des Rosiers, Sarah" userId="a902d833-ec12-4f6e-97d3-f07e8740007b" providerId="ADAL" clId="{53123166-8374-4A84-99EB-5A7B7649EE85}" dt="2024-07-30T14:29:44.626" v="834" actId="47"/>
        <pc:sldMkLst>
          <pc:docMk/>
          <pc:sldMk cId="2022739359" sldId="325"/>
        </pc:sldMkLst>
      </pc:sldChg>
      <pc:sldChg chg="del">
        <pc:chgData name="Des Rosiers, Sarah" userId="a902d833-ec12-4f6e-97d3-f07e8740007b" providerId="ADAL" clId="{53123166-8374-4A84-99EB-5A7B7649EE85}" dt="2024-07-30T14:29:36.255" v="833" actId="47"/>
        <pc:sldMkLst>
          <pc:docMk/>
          <pc:sldMk cId="674557983" sldId="326"/>
        </pc:sldMkLst>
      </pc:sldChg>
      <pc:sldChg chg="del">
        <pc:chgData name="Des Rosiers, Sarah" userId="a902d833-ec12-4f6e-97d3-f07e8740007b" providerId="ADAL" clId="{53123166-8374-4A84-99EB-5A7B7649EE85}" dt="2024-07-30T14:29:36.255" v="833" actId="47"/>
        <pc:sldMkLst>
          <pc:docMk/>
          <pc:sldMk cId="1358926637" sldId="327"/>
        </pc:sldMkLst>
      </pc:sldChg>
      <pc:sldChg chg="del">
        <pc:chgData name="Des Rosiers, Sarah" userId="a902d833-ec12-4f6e-97d3-f07e8740007b" providerId="ADAL" clId="{53123166-8374-4A84-99EB-5A7B7649EE85}" dt="2024-07-30T14:29:36.255" v="833" actId="47"/>
        <pc:sldMkLst>
          <pc:docMk/>
          <pc:sldMk cId="2446646356" sldId="328"/>
        </pc:sldMkLst>
      </pc:sldChg>
      <pc:sldChg chg="del">
        <pc:chgData name="Des Rosiers, Sarah" userId="a902d833-ec12-4f6e-97d3-f07e8740007b" providerId="ADAL" clId="{53123166-8374-4A84-99EB-5A7B7649EE85}" dt="2024-07-30T14:29:36.255" v="833" actId="47"/>
        <pc:sldMkLst>
          <pc:docMk/>
          <pc:sldMk cId="1808363561" sldId="329"/>
        </pc:sldMkLst>
      </pc:sldChg>
      <pc:sldChg chg="del">
        <pc:chgData name="Des Rosiers, Sarah" userId="a902d833-ec12-4f6e-97d3-f07e8740007b" providerId="ADAL" clId="{53123166-8374-4A84-99EB-5A7B7649EE85}" dt="2024-07-30T14:29:36.255" v="833" actId="47"/>
        <pc:sldMkLst>
          <pc:docMk/>
          <pc:sldMk cId="1298088731" sldId="330"/>
        </pc:sldMkLst>
      </pc:sldChg>
      <pc:sldChg chg="del">
        <pc:chgData name="Des Rosiers, Sarah" userId="a902d833-ec12-4f6e-97d3-f07e8740007b" providerId="ADAL" clId="{53123166-8374-4A84-99EB-5A7B7649EE85}" dt="2024-07-30T14:29:36.255" v="833" actId="47"/>
        <pc:sldMkLst>
          <pc:docMk/>
          <pc:sldMk cId="3441888593" sldId="331"/>
        </pc:sldMkLst>
      </pc:sldChg>
      <pc:sldChg chg="del">
        <pc:chgData name="Des Rosiers, Sarah" userId="a902d833-ec12-4f6e-97d3-f07e8740007b" providerId="ADAL" clId="{53123166-8374-4A84-99EB-5A7B7649EE85}" dt="2024-07-30T14:29:36.255" v="833" actId="47"/>
        <pc:sldMkLst>
          <pc:docMk/>
          <pc:sldMk cId="713842976" sldId="332"/>
        </pc:sldMkLst>
      </pc:sldChg>
      <pc:sldChg chg="del">
        <pc:chgData name="Des Rosiers, Sarah" userId="a902d833-ec12-4f6e-97d3-f07e8740007b" providerId="ADAL" clId="{53123166-8374-4A84-99EB-5A7B7649EE85}" dt="2024-07-30T14:29:36.255" v="833" actId="47"/>
        <pc:sldMkLst>
          <pc:docMk/>
          <pc:sldMk cId="2306738576" sldId="333"/>
        </pc:sldMkLst>
      </pc:sldChg>
      <pc:sldChg chg="del">
        <pc:chgData name="Des Rosiers, Sarah" userId="a902d833-ec12-4f6e-97d3-f07e8740007b" providerId="ADAL" clId="{53123166-8374-4A84-99EB-5A7B7649EE85}" dt="2024-07-30T14:29:36.255" v="833" actId="47"/>
        <pc:sldMkLst>
          <pc:docMk/>
          <pc:sldMk cId="1228852168" sldId="334"/>
        </pc:sldMkLst>
      </pc:sldChg>
      <pc:sldChg chg="del">
        <pc:chgData name="Des Rosiers, Sarah" userId="a902d833-ec12-4f6e-97d3-f07e8740007b" providerId="ADAL" clId="{53123166-8374-4A84-99EB-5A7B7649EE85}" dt="2024-07-30T14:29:44.626" v="834" actId="47"/>
        <pc:sldMkLst>
          <pc:docMk/>
          <pc:sldMk cId="2571742113" sldId="336"/>
        </pc:sldMkLst>
      </pc:sldChg>
      <pc:sldChg chg="del">
        <pc:chgData name="Des Rosiers, Sarah" userId="a902d833-ec12-4f6e-97d3-f07e8740007b" providerId="ADAL" clId="{53123166-8374-4A84-99EB-5A7B7649EE85}" dt="2024-07-30T14:29:36.255" v="833" actId="47"/>
        <pc:sldMkLst>
          <pc:docMk/>
          <pc:sldMk cId="4127868358" sldId="337"/>
        </pc:sldMkLst>
      </pc:sldChg>
      <pc:sldChg chg="del">
        <pc:chgData name="Des Rosiers, Sarah" userId="a902d833-ec12-4f6e-97d3-f07e8740007b" providerId="ADAL" clId="{53123166-8374-4A84-99EB-5A7B7649EE85}" dt="2024-07-30T14:29:36.255" v="833" actId="47"/>
        <pc:sldMkLst>
          <pc:docMk/>
          <pc:sldMk cId="233564618" sldId="338"/>
        </pc:sldMkLst>
      </pc:sldChg>
      <pc:sldChg chg="del">
        <pc:chgData name="Des Rosiers, Sarah" userId="a902d833-ec12-4f6e-97d3-f07e8740007b" providerId="ADAL" clId="{53123166-8374-4A84-99EB-5A7B7649EE85}" dt="2024-07-30T14:29:36.255" v="833" actId="47"/>
        <pc:sldMkLst>
          <pc:docMk/>
          <pc:sldMk cId="434291633" sldId="339"/>
        </pc:sldMkLst>
      </pc:sldChg>
      <pc:sldChg chg="del">
        <pc:chgData name="Des Rosiers, Sarah" userId="a902d833-ec12-4f6e-97d3-f07e8740007b" providerId="ADAL" clId="{53123166-8374-4A84-99EB-5A7B7649EE85}" dt="2024-07-30T14:29:44.626" v="834" actId="47"/>
        <pc:sldMkLst>
          <pc:docMk/>
          <pc:sldMk cId="4158866135" sldId="340"/>
        </pc:sldMkLst>
      </pc:sldChg>
      <pc:sldChg chg="del">
        <pc:chgData name="Des Rosiers, Sarah" userId="a902d833-ec12-4f6e-97d3-f07e8740007b" providerId="ADAL" clId="{53123166-8374-4A84-99EB-5A7B7649EE85}" dt="2024-07-30T14:29:44.626" v="834" actId="47"/>
        <pc:sldMkLst>
          <pc:docMk/>
          <pc:sldMk cId="78079211" sldId="341"/>
        </pc:sldMkLst>
      </pc:sldChg>
      <pc:sldChg chg="addSp delSp modSp add mod setBg">
        <pc:chgData name="Des Rosiers, Sarah" userId="a902d833-ec12-4f6e-97d3-f07e8740007b" providerId="ADAL" clId="{53123166-8374-4A84-99EB-5A7B7649EE85}" dt="2024-07-30T14:14:17.233" v="306" actId="20577"/>
        <pc:sldMkLst>
          <pc:docMk/>
          <pc:sldMk cId="1570290644" sldId="342"/>
        </pc:sldMkLst>
        <pc:spChg chg="mod">
          <ac:chgData name="Des Rosiers, Sarah" userId="a902d833-ec12-4f6e-97d3-f07e8740007b" providerId="ADAL" clId="{53123166-8374-4A84-99EB-5A7B7649EE85}" dt="2024-07-30T14:13:18.132" v="302" actId="1035"/>
          <ac:spMkLst>
            <pc:docMk/>
            <pc:sldMk cId="1570290644" sldId="342"/>
            <ac:spMk id="2" creationId="{8EA1F7EE-AEFE-ECC5-71C8-00CF1E8572DA}"/>
          </ac:spMkLst>
        </pc:spChg>
        <pc:spChg chg="mod">
          <ac:chgData name="Des Rosiers, Sarah" userId="a902d833-ec12-4f6e-97d3-f07e8740007b" providerId="ADAL" clId="{53123166-8374-4A84-99EB-5A7B7649EE85}" dt="2024-07-30T14:13:18.132" v="302" actId="1035"/>
          <ac:spMkLst>
            <pc:docMk/>
            <pc:sldMk cId="1570290644" sldId="342"/>
            <ac:spMk id="5" creationId="{63188674-945D-988F-1347-EBBFE11CE5B6}"/>
          </ac:spMkLst>
        </pc:spChg>
        <pc:spChg chg="add mod">
          <ac:chgData name="Des Rosiers, Sarah" userId="a902d833-ec12-4f6e-97d3-f07e8740007b" providerId="ADAL" clId="{53123166-8374-4A84-99EB-5A7B7649EE85}" dt="2024-07-30T14:14:17.233" v="306" actId="20577"/>
          <ac:spMkLst>
            <pc:docMk/>
            <pc:sldMk cId="1570290644" sldId="342"/>
            <ac:spMk id="6" creationId="{82F9213F-17FE-EE59-5A89-83D2F9AB7209}"/>
          </ac:spMkLst>
        </pc:spChg>
        <pc:spChg chg="mod">
          <ac:chgData name="Des Rosiers, Sarah" userId="a902d833-ec12-4f6e-97d3-f07e8740007b" providerId="ADAL" clId="{53123166-8374-4A84-99EB-5A7B7649EE85}" dt="2024-07-30T14:13:18.132" v="302" actId="1035"/>
          <ac:spMkLst>
            <pc:docMk/>
            <pc:sldMk cId="1570290644" sldId="342"/>
            <ac:spMk id="8" creationId="{8E9CD0C8-D335-D1D2-5D9F-B4C0D2587F07}"/>
          </ac:spMkLst>
        </pc:spChg>
        <pc:spChg chg="del">
          <ac:chgData name="Des Rosiers, Sarah" userId="a902d833-ec12-4f6e-97d3-f07e8740007b" providerId="ADAL" clId="{53123166-8374-4A84-99EB-5A7B7649EE85}" dt="2024-07-30T14:13:10.553" v="258" actId="478"/>
          <ac:spMkLst>
            <pc:docMk/>
            <pc:sldMk cId="1570290644" sldId="342"/>
            <ac:spMk id="11" creationId="{7893982A-7789-A2D5-CD1D-180ACC454FAD}"/>
          </ac:spMkLst>
        </pc:spChg>
        <pc:spChg chg="mod">
          <ac:chgData name="Des Rosiers, Sarah" userId="a902d833-ec12-4f6e-97d3-f07e8740007b" providerId="ADAL" clId="{53123166-8374-4A84-99EB-5A7B7649EE85}" dt="2024-07-30T14:13:18.132" v="302" actId="1035"/>
          <ac:spMkLst>
            <pc:docMk/>
            <pc:sldMk cId="1570290644" sldId="342"/>
            <ac:spMk id="16" creationId="{3A2D7507-D528-AF5A-52D9-30D015479BA1}"/>
          </ac:spMkLst>
        </pc:spChg>
        <pc:spChg chg="mod">
          <ac:chgData name="Des Rosiers, Sarah" userId="a902d833-ec12-4f6e-97d3-f07e8740007b" providerId="ADAL" clId="{53123166-8374-4A84-99EB-5A7B7649EE85}" dt="2024-07-30T14:13:18.132" v="302" actId="1035"/>
          <ac:spMkLst>
            <pc:docMk/>
            <pc:sldMk cId="1570290644" sldId="342"/>
            <ac:spMk id="17" creationId="{2127167F-00AD-D8FC-B4EE-2DEF556AD6C9}"/>
          </ac:spMkLst>
        </pc:spChg>
        <pc:grpChg chg="mod">
          <ac:chgData name="Des Rosiers, Sarah" userId="a902d833-ec12-4f6e-97d3-f07e8740007b" providerId="ADAL" clId="{53123166-8374-4A84-99EB-5A7B7649EE85}" dt="2024-07-30T14:13:18.132" v="302" actId="1035"/>
          <ac:grpSpMkLst>
            <pc:docMk/>
            <pc:sldMk cId="1570290644" sldId="342"/>
            <ac:grpSpMk id="9" creationId="{31DC9673-D688-0A7A-6C70-10ADF9800B10}"/>
          </ac:grpSpMkLst>
        </pc:grpChg>
        <pc:grpChg chg="mod">
          <ac:chgData name="Des Rosiers, Sarah" userId="a902d833-ec12-4f6e-97d3-f07e8740007b" providerId="ADAL" clId="{53123166-8374-4A84-99EB-5A7B7649EE85}" dt="2024-07-30T14:13:18.132" v="302" actId="1035"/>
          <ac:grpSpMkLst>
            <pc:docMk/>
            <pc:sldMk cId="1570290644" sldId="342"/>
            <ac:grpSpMk id="12" creationId="{DA9E7FCD-5DCF-E202-C5DE-81B997BBCC59}"/>
          </ac:grpSpMkLst>
        </pc:grpChg>
        <pc:grpChg chg="mod">
          <ac:chgData name="Des Rosiers, Sarah" userId="a902d833-ec12-4f6e-97d3-f07e8740007b" providerId="ADAL" clId="{53123166-8374-4A84-99EB-5A7B7649EE85}" dt="2024-07-30T14:13:18.132" v="302" actId="1035"/>
          <ac:grpSpMkLst>
            <pc:docMk/>
            <pc:sldMk cId="1570290644" sldId="342"/>
            <ac:grpSpMk id="18" creationId="{E49C21FC-F6F8-EF1B-0424-45A867A78A41}"/>
          </ac:grpSpMkLst>
        </pc:grpChg>
        <pc:picChg chg="mod">
          <ac:chgData name="Des Rosiers, Sarah" userId="a902d833-ec12-4f6e-97d3-f07e8740007b" providerId="ADAL" clId="{53123166-8374-4A84-99EB-5A7B7649EE85}" dt="2024-07-30T14:13:18.132" v="302" actId="1035"/>
          <ac:picMkLst>
            <pc:docMk/>
            <pc:sldMk cId="1570290644" sldId="342"/>
            <ac:picMk id="3" creationId="{3579C2E2-6E18-5BCF-338A-02BBB3BCDE1C}"/>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905393C-279E-C9B0-6414-753F3C5AC3C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9E548BD-3BF5-C546-597C-CDDEBB5060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C5D6D29-B0AC-4F17-B48C-0DD4C2CD20D2}" type="datetimeFigureOut">
              <a:rPr lang="en-GB" smtClean="0"/>
              <a:t>30/07/2024</a:t>
            </a:fld>
            <a:endParaRPr lang="en-GB"/>
          </a:p>
        </p:txBody>
      </p:sp>
      <p:sp>
        <p:nvSpPr>
          <p:cNvPr id="4" name="Footer Placeholder 3">
            <a:extLst>
              <a:ext uri="{FF2B5EF4-FFF2-40B4-BE49-F238E27FC236}">
                <a16:creationId xmlns:a16="http://schemas.microsoft.com/office/drawing/2014/main" id="{3D599E39-A58A-EE61-F03E-E373F660B4B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CA5418-7089-7ED5-A1DA-A7670647F2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EE6E49-F2EA-4DFD-BA31-A3CAB8E0D7E3}" type="slidenum">
              <a:rPr lang="en-GB" smtClean="0"/>
              <a:t>‹#›</a:t>
            </a:fld>
            <a:endParaRPr lang="en-GB"/>
          </a:p>
        </p:txBody>
      </p:sp>
    </p:spTree>
    <p:extLst>
      <p:ext uri="{BB962C8B-B14F-4D97-AF65-F5344CB8AC3E}">
        <p14:creationId xmlns:p14="http://schemas.microsoft.com/office/powerpoint/2010/main" val="24831501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B3FB0-12FC-4420-880E-3E7AA3DB0BD4}" type="datetimeFigureOut">
              <a:rPr lang="en-GB" smtClean="0"/>
              <a:t>30/07/2024</a:t>
            </a:fld>
            <a:endParaRPr lang="en-GB"/>
          </a:p>
        </p:txBody>
      </p:sp>
      <p:sp>
        <p:nvSpPr>
          <p:cNvPr id="4" name="Slide Image Placeholder 3"/>
          <p:cNvSpPr>
            <a:spLocks noGrp="1" noRot="1" noChangeAspect="1"/>
          </p:cNvSpPr>
          <p:nvPr>
            <p:ph type="sldImg" idx="2"/>
          </p:nvPr>
        </p:nvSpPr>
        <p:spPr>
          <a:xfrm>
            <a:off x="2344738" y="1143000"/>
            <a:ext cx="2168525"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F80CA-0B62-4806-84EF-87D648B4ECD5}" type="slidenum">
              <a:rPr lang="en-GB" smtClean="0"/>
              <a:t>‹#›</a:t>
            </a:fld>
            <a:endParaRPr lang="en-GB"/>
          </a:p>
        </p:txBody>
      </p:sp>
    </p:spTree>
    <p:extLst>
      <p:ext uri="{BB962C8B-B14F-4D97-AF65-F5344CB8AC3E}">
        <p14:creationId xmlns:p14="http://schemas.microsoft.com/office/powerpoint/2010/main" val="94553843"/>
      </p:ext>
    </p:extLst>
  </p:cSld>
  <p:clrMap bg1="lt1" tx1="dk1" bg2="lt2" tx2="dk2" accent1="accent1" accent2="accent2" accent3="accent3" accent4="accent4" accent5="accent5" accent6="accent6" hlink="hlink" folHlink="folHlink"/>
  <p:notesStyle>
    <a:lvl1pPr marL="0" algn="l" defTabSz="869209" rtl="0" eaLnBrk="1" latinLnBrk="0" hangingPunct="1">
      <a:defRPr sz="1141" kern="1200">
        <a:solidFill>
          <a:schemeClr val="tx1"/>
        </a:solidFill>
        <a:latin typeface="+mn-lt"/>
        <a:ea typeface="+mn-ea"/>
        <a:cs typeface="+mn-cs"/>
      </a:defRPr>
    </a:lvl1pPr>
    <a:lvl2pPr marL="434605" algn="l" defTabSz="869209" rtl="0" eaLnBrk="1" latinLnBrk="0" hangingPunct="1">
      <a:defRPr sz="1141" kern="1200">
        <a:solidFill>
          <a:schemeClr val="tx1"/>
        </a:solidFill>
        <a:latin typeface="+mn-lt"/>
        <a:ea typeface="+mn-ea"/>
        <a:cs typeface="+mn-cs"/>
      </a:defRPr>
    </a:lvl2pPr>
    <a:lvl3pPr marL="869209" algn="l" defTabSz="869209" rtl="0" eaLnBrk="1" latinLnBrk="0" hangingPunct="1">
      <a:defRPr sz="1141" kern="1200">
        <a:solidFill>
          <a:schemeClr val="tx1"/>
        </a:solidFill>
        <a:latin typeface="+mn-lt"/>
        <a:ea typeface="+mn-ea"/>
        <a:cs typeface="+mn-cs"/>
      </a:defRPr>
    </a:lvl3pPr>
    <a:lvl4pPr marL="1303814" algn="l" defTabSz="869209" rtl="0" eaLnBrk="1" latinLnBrk="0" hangingPunct="1">
      <a:defRPr sz="1141" kern="1200">
        <a:solidFill>
          <a:schemeClr val="tx1"/>
        </a:solidFill>
        <a:latin typeface="+mn-lt"/>
        <a:ea typeface="+mn-ea"/>
        <a:cs typeface="+mn-cs"/>
      </a:defRPr>
    </a:lvl4pPr>
    <a:lvl5pPr marL="1738418" algn="l" defTabSz="869209" rtl="0" eaLnBrk="1" latinLnBrk="0" hangingPunct="1">
      <a:defRPr sz="1141" kern="1200">
        <a:solidFill>
          <a:schemeClr val="tx1"/>
        </a:solidFill>
        <a:latin typeface="+mn-lt"/>
        <a:ea typeface="+mn-ea"/>
        <a:cs typeface="+mn-cs"/>
      </a:defRPr>
    </a:lvl5pPr>
    <a:lvl6pPr marL="2173023" algn="l" defTabSz="869209" rtl="0" eaLnBrk="1" latinLnBrk="0" hangingPunct="1">
      <a:defRPr sz="1141" kern="1200">
        <a:solidFill>
          <a:schemeClr val="tx1"/>
        </a:solidFill>
        <a:latin typeface="+mn-lt"/>
        <a:ea typeface="+mn-ea"/>
        <a:cs typeface="+mn-cs"/>
      </a:defRPr>
    </a:lvl6pPr>
    <a:lvl7pPr marL="2607627" algn="l" defTabSz="869209" rtl="0" eaLnBrk="1" latinLnBrk="0" hangingPunct="1">
      <a:defRPr sz="1141" kern="1200">
        <a:solidFill>
          <a:schemeClr val="tx1"/>
        </a:solidFill>
        <a:latin typeface="+mn-lt"/>
        <a:ea typeface="+mn-ea"/>
        <a:cs typeface="+mn-cs"/>
      </a:defRPr>
    </a:lvl7pPr>
    <a:lvl8pPr marL="3042232" algn="l" defTabSz="869209" rtl="0" eaLnBrk="1" latinLnBrk="0" hangingPunct="1">
      <a:defRPr sz="1141" kern="1200">
        <a:solidFill>
          <a:schemeClr val="tx1"/>
        </a:solidFill>
        <a:latin typeface="+mn-lt"/>
        <a:ea typeface="+mn-ea"/>
        <a:cs typeface="+mn-cs"/>
      </a:defRPr>
    </a:lvl8pPr>
    <a:lvl9pPr marL="3476837" algn="l" defTabSz="869209" rtl="0" eaLnBrk="1" latinLnBrk="0" hangingPunct="1">
      <a:defRPr sz="1141"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7FC4EB6-1B08-942F-2C06-67217AC6072C}"/>
              </a:ext>
            </a:extLst>
          </p:cNvPr>
          <p:cNvSpPr txBox="1"/>
          <p:nvPr userDrawn="1"/>
        </p:nvSpPr>
        <p:spPr>
          <a:xfrm>
            <a:off x="552450" y="917774"/>
            <a:ext cx="5425434" cy="153888"/>
          </a:xfrm>
          <a:prstGeom prst="rect">
            <a:avLst/>
          </a:prstGeom>
          <a:noFill/>
        </p:spPr>
        <p:txBody>
          <a:bodyPr wrap="square" lIns="0" tIns="0" rIns="0" bIns="0">
            <a:spAutoFit/>
          </a:bodyPr>
          <a:lstStyle/>
          <a:p>
            <a:r>
              <a:rPr lang="fr-FR" sz="1000" dirty="0">
                <a:solidFill>
                  <a:schemeClr val="accent5">
                    <a:lumMod val="25000"/>
                  </a:schemeClr>
                </a:solidFill>
              </a:rPr>
              <a:t>Toolkit pour la mise en œuvre</a:t>
            </a:r>
            <a:r>
              <a:rPr lang="hr-HR" sz="1000" dirty="0">
                <a:solidFill>
                  <a:schemeClr val="accent5">
                    <a:lumMod val="25000"/>
                  </a:schemeClr>
                </a:solidFill>
              </a:rPr>
              <a:t> </a:t>
            </a:r>
            <a:r>
              <a:rPr lang="fr-FR" sz="1000" dirty="0">
                <a:solidFill>
                  <a:schemeClr val="accent5">
                    <a:lumMod val="25000"/>
                  </a:schemeClr>
                </a:solidFill>
              </a:rPr>
              <a:t>de CARDIO4Dakar</a:t>
            </a:r>
            <a:endParaRPr lang="en-US" sz="1000" dirty="0">
              <a:solidFill>
                <a:schemeClr val="accent5">
                  <a:lumMod val="25000"/>
                </a:schemeClr>
              </a:solidFill>
            </a:endParaRPr>
          </a:p>
        </p:txBody>
      </p:sp>
      <p:cxnSp>
        <p:nvCxnSpPr>
          <p:cNvPr id="2" name="Straight Connector 1">
            <a:extLst>
              <a:ext uri="{FF2B5EF4-FFF2-40B4-BE49-F238E27FC236}">
                <a16:creationId xmlns:a16="http://schemas.microsoft.com/office/drawing/2014/main" id="{75323350-38E7-26BE-2130-F4F85F97E726}"/>
              </a:ext>
            </a:extLst>
          </p:cNvPr>
          <p:cNvCxnSpPr>
            <a:cxnSpLocks/>
          </p:cNvCxnSpPr>
          <p:nvPr userDrawn="1"/>
        </p:nvCxnSpPr>
        <p:spPr>
          <a:xfrm>
            <a:off x="552450" y="808032"/>
            <a:ext cx="5470525" cy="0"/>
          </a:xfrm>
          <a:prstGeom prst="line">
            <a:avLst/>
          </a:prstGeom>
          <a:ln w="63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9F0FD80-A382-1D80-255F-BD6E40D02168}"/>
              </a:ext>
            </a:extLst>
          </p:cNvPr>
          <p:cNvSpPr txBox="1"/>
          <p:nvPr userDrawn="1"/>
        </p:nvSpPr>
        <p:spPr>
          <a:xfrm>
            <a:off x="5749947" y="491904"/>
            <a:ext cx="282553" cy="169277"/>
          </a:xfrm>
          <a:prstGeom prst="rect">
            <a:avLst/>
          </a:prstGeom>
          <a:noFill/>
        </p:spPr>
        <p:txBody>
          <a:bodyPr wrap="square" lIns="0" tIns="0" rIns="0" bIns="0">
            <a:spAutoFit/>
          </a:bodyPr>
          <a:lstStyle/>
          <a:p>
            <a:pPr algn="r"/>
            <a:fld id="{03CB0E19-F4C8-4F98-96D2-CE1ECDE59975}" type="slidenum">
              <a:rPr lang="en-GB" sz="1100" smtClean="0">
                <a:solidFill>
                  <a:schemeClr val="accent5">
                    <a:lumMod val="25000"/>
                  </a:schemeClr>
                </a:solidFill>
              </a:rPr>
              <a:pPr algn="r"/>
              <a:t>‹#›</a:t>
            </a:fld>
            <a:endParaRPr lang="en-US" sz="1100" dirty="0">
              <a:solidFill>
                <a:schemeClr val="accent5">
                  <a:lumMod val="25000"/>
                </a:schemeClr>
              </a:solidFill>
            </a:endParaRPr>
          </a:p>
        </p:txBody>
      </p:sp>
      <p:pic>
        <p:nvPicPr>
          <p:cNvPr id="10" name="Picture 9">
            <a:extLst>
              <a:ext uri="{FF2B5EF4-FFF2-40B4-BE49-F238E27FC236}">
                <a16:creationId xmlns:a16="http://schemas.microsoft.com/office/drawing/2014/main" id="{56146CA4-312C-9A61-0ACD-AED704CE59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30224" y="124417"/>
            <a:ext cx="483408" cy="683611"/>
          </a:xfrm>
          <a:prstGeom prst="rect">
            <a:avLst/>
          </a:prstGeom>
        </p:spPr>
      </p:pic>
      <p:pic>
        <p:nvPicPr>
          <p:cNvPr id="11" name="Picture 10">
            <a:extLst>
              <a:ext uri="{FF2B5EF4-FFF2-40B4-BE49-F238E27FC236}">
                <a16:creationId xmlns:a16="http://schemas.microsoft.com/office/drawing/2014/main" id="{47F61DD9-E976-ACCF-FDAD-6475E0E44932}"/>
              </a:ext>
            </a:extLst>
          </p:cNvPr>
          <p:cNvPicPr/>
          <p:nvPr userDrawn="1"/>
        </p:nvPicPr>
        <p:blipFill>
          <a:blip r:embed="rId3"/>
          <a:stretch>
            <a:fillRect/>
          </a:stretch>
        </p:blipFill>
        <p:spPr>
          <a:xfrm>
            <a:off x="3812989" y="8918018"/>
            <a:ext cx="2233471" cy="197695"/>
          </a:xfrm>
          <a:prstGeom prst="rect">
            <a:avLst/>
          </a:prstGeom>
          <a:noFill/>
          <a:ln>
            <a:noFill/>
            <a:prstDash/>
          </a:ln>
        </p:spPr>
      </p:pic>
      <p:pic>
        <p:nvPicPr>
          <p:cNvPr id="12" name="Picture 11">
            <a:extLst>
              <a:ext uri="{FF2B5EF4-FFF2-40B4-BE49-F238E27FC236}">
                <a16:creationId xmlns:a16="http://schemas.microsoft.com/office/drawing/2014/main" id="{69CD669F-529E-670B-3A95-A2FD949ADF4E}"/>
              </a:ext>
            </a:extLst>
          </p:cNvPr>
          <p:cNvPicPr>
            <a:picLocks noChangeAspect="1" noChangeArrowheads="1"/>
          </p:cNvPicPr>
          <p:nvPr userDrawn="1"/>
        </p:nvPicPr>
        <p:blipFill>
          <a:blip r:embed="rId4" cstate="screen">
            <a:extLst>
              <a:ext uri="{28A0092B-C50C-407E-A947-70E740481C1C}">
                <a14:useLocalDpi xmlns:a14="http://schemas.microsoft.com/office/drawing/2010/main"/>
              </a:ext>
            </a:extLst>
          </a:blip>
          <a:stretch>
            <a:fillRect/>
          </a:stretch>
        </p:blipFill>
        <p:spPr bwMode="auto">
          <a:xfrm>
            <a:off x="2618878" y="8853589"/>
            <a:ext cx="1018103" cy="384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0147651"/>
      </p:ext>
    </p:extLst>
  </p:cSld>
  <p:clrMapOvr>
    <a:masterClrMapping/>
  </p:clrMapOvr>
  <p:extLst>
    <p:ext uri="{DCECCB84-F9BA-43D5-87BE-67443E8EF086}">
      <p15:sldGuideLst xmlns:p15="http://schemas.microsoft.com/office/powerpoint/2012/main">
        <p15:guide id="1" orient="horz" pos="29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1">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7EC64AB-4074-22B1-B70B-B567AB7A5671}"/>
              </a:ext>
            </a:extLst>
          </p:cNvPr>
          <p:cNvCxnSpPr>
            <a:cxnSpLocks/>
          </p:cNvCxnSpPr>
          <p:nvPr userDrawn="1"/>
        </p:nvCxnSpPr>
        <p:spPr>
          <a:xfrm>
            <a:off x="552450" y="808032"/>
            <a:ext cx="5470525" cy="0"/>
          </a:xfrm>
          <a:prstGeom prst="line">
            <a:avLst/>
          </a:prstGeom>
          <a:ln w="63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9178941-1A2E-0455-D6BA-15B3FFF226B7}"/>
              </a:ext>
            </a:extLst>
          </p:cNvPr>
          <p:cNvSpPr txBox="1"/>
          <p:nvPr userDrawn="1"/>
        </p:nvSpPr>
        <p:spPr>
          <a:xfrm>
            <a:off x="5749947" y="491904"/>
            <a:ext cx="282553" cy="169277"/>
          </a:xfrm>
          <a:prstGeom prst="rect">
            <a:avLst/>
          </a:prstGeom>
          <a:noFill/>
        </p:spPr>
        <p:txBody>
          <a:bodyPr wrap="square" lIns="0" tIns="0" rIns="0" bIns="0">
            <a:spAutoFit/>
          </a:bodyPr>
          <a:lstStyle/>
          <a:p>
            <a:pPr algn="r"/>
            <a:fld id="{03CB0E19-F4C8-4F98-96D2-CE1ECDE59975}" type="slidenum">
              <a:rPr lang="en-GB" sz="1100" smtClean="0">
                <a:solidFill>
                  <a:schemeClr val="accent5">
                    <a:lumMod val="25000"/>
                  </a:schemeClr>
                </a:solidFill>
              </a:rPr>
              <a:pPr algn="r"/>
              <a:t>‹#›</a:t>
            </a:fld>
            <a:endParaRPr lang="en-US" sz="1100" dirty="0">
              <a:solidFill>
                <a:schemeClr val="accent5">
                  <a:lumMod val="25000"/>
                </a:schemeClr>
              </a:solidFill>
            </a:endParaRPr>
          </a:p>
        </p:txBody>
      </p:sp>
      <p:pic>
        <p:nvPicPr>
          <p:cNvPr id="5" name="Picture 4">
            <a:extLst>
              <a:ext uri="{FF2B5EF4-FFF2-40B4-BE49-F238E27FC236}">
                <a16:creationId xmlns:a16="http://schemas.microsoft.com/office/drawing/2014/main" id="{0DBBA276-70B3-0547-A748-EA80F5DA18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30224" y="124417"/>
            <a:ext cx="483408" cy="683611"/>
          </a:xfrm>
          <a:prstGeom prst="rect">
            <a:avLst/>
          </a:prstGeom>
        </p:spPr>
      </p:pic>
    </p:spTree>
    <p:extLst>
      <p:ext uri="{BB962C8B-B14F-4D97-AF65-F5344CB8AC3E}">
        <p14:creationId xmlns:p14="http://schemas.microsoft.com/office/powerpoint/2010/main" val="2180230471"/>
      </p:ext>
    </p:extLst>
  </p:cSld>
  <p:clrMapOvr>
    <a:masterClrMapping/>
  </p:clrMapOvr>
  <p:extLst>
    <p:ext uri="{DCECCB84-F9BA-43D5-87BE-67443E8EF086}">
      <p15:sldGuideLst xmlns:p15="http://schemas.microsoft.com/office/powerpoint/2012/main">
        <p15:guide id="1" orient="horz" pos="2948">
          <p15:clr>
            <a:srgbClr val="FBAE40"/>
          </p15:clr>
        </p15:guide>
        <p15:guide id="2" pos="348" userDrawn="1">
          <p15:clr>
            <a:srgbClr val="FBAE40"/>
          </p15:clr>
        </p15:guide>
        <p15:guide id="3" pos="379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456737" y="1878482"/>
            <a:ext cx="3842681" cy="3106863"/>
          </a:xfrm>
        </p:spPr>
        <p:txBody>
          <a:bodyPr anchor="b" anchorCtr="0"/>
          <a:lstStyle>
            <a:lvl1pPr algn="l">
              <a:lnSpc>
                <a:spcPct val="90000"/>
              </a:lnSpc>
              <a:defRPr sz="5267" spc="-132" baseline="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456737" y="5446943"/>
            <a:ext cx="3842681" cy="1429986"/>
          </a:xfrm>
        </p:spPr>
        <p:txBody>
          <a:bodyPr anchor="t" anchorCtr="0"/>
          <a:lstStyle>
            <a:lvl1pPr marL="0" indent="0" algn="l">
              <a:spcBef>
                <a:spcPts val="0"/>
              </a:spcBef>
              <a:buNone/>
              <a:defRPr sz="2634"/>
            </a:lvl1pPr>
            <a:lvl2pPr marL="602009" indent="0" algn="ctr">
              <a:buNone/>
              <a:defRPr sz="2634"/>
            </a:lvl2pPr>
            <a:lvl3pPr marL="1204016" indent="0" algn="ctr">
              <a:buNone/>
              <a:defRPr sz="2371"/>
            </a:lvl3pPr>
            <a:lvl4pPr marL="1806026" indent="0" algn="ctr">
              <a:buNone/>
              <a:defRPr sz="2107"/>
            </a:lvl4pPr>
            <a:lvl5pPr marL="2408033" indent="0" algn="ctr">
              <a:buNone/>
              <a:defRPr sz="2107"/>
            </a:lvl5pPr>
            <a:lvl6pPr marL="3010042" indent="0" algn="ctr">
              <a:buNone/>
              <a:defRPr sz="2107"/>
            </a:lvl6pPr>
            <a:lvl7pPr marL="3612050" indent="0" algn="ctr">
              <a:buNone/>
              <a:defRPr sz="2107"/>
            </a:lvl7pPr>
            <a:lvl8pPr marL="4214059" indent="0" algn="ctr">
              <a:buNone/>
              <a:defRPr sz="2107"/>
            </a:lvl8pPr>
            <a:lvl9pPr marL="4816068" indent="0" algn="ctr">
              <a:buNone/>
              <a:defRPr sz="2107"/>
            </a:lvl9pPr>
          </a:lstStyle>
          <a:p>
            <a:r>
              <a:rPr lang="en-US"/>
              <a:t>Click to edit Master subtitle style</a:t>
            </a:r>
            <a:endParaRPr lang="en-GB" dirty="0"/>
          </a:p>
        </p:txBody>
      </p:sp>
    </p:spTree>
    <p:extLst>
      <p:ext uri="{BB962C8B-B14F-4D97-AF65-F5344CB8AC3E}">
        <p14:creationId xmlns:p14="http://schemas.microsoft.com/office/powerpoint/2010/main" val="2387718936"/>
      </p:ext>
    </p:extLst>
  </p:cSld>
  <p:clrMapOvr>
    <a:masterClrMapping/>
  </p:clrMapOvr>
  <p:extLst>
    <p:ext uri="{DCECCB84-F9BA-43D5-87BE-67443E8EF086}">
      <p15:sldGuideLst xmlns:p15="http://schemas.microsoft.com/office/powerpoint/2012/main">
        <p15:guide id="1" orient="horz" pos="294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8799698-3815-8DC5-1E92-14E8D3FEBDB0}"/>
              </a:ext>
            </a:extLst>
          </p:cNvPr>
          <p:cNvPicPr>
            <a:picLocks noChangeAspect="1"/>
          </p:cNvPicPr>
          <p:nvPr userDrawn="1"/>
        </p:nvPicPr>
        <p:blipFill>
          <a:blip r:embed="rId2">
            <a:alphaModFix amt="55000"/>
            <a:extLst>
              <a:ext uri="{28A0092B-C50C-407E-A947-70E740481C1C}">
                <a14:useLocalDpi xmlns:a14="http://schemas.microsoft.com/office/drawing/2010/main" val="0"/>
              </a:ext>
            </a:extLst>
          </a:blip>
          <a:stretch>
            <a:fillRect/>
          </a:stretch>
        </p:blipFill>
        <p:spPr>
          <a:xfrm>
            <a:off x="0" y="-14592"/>
            <a:ext cx="6577013" cy="9389085"/>
          </a:xfrm>
          <a:prstGeom prst="rect">
            <a:avLst/>
          </a:prstGeom>
        </p:spPr>
      </p:pic>
      <p:sp>
        <p:nvSpPr>
          <p:cNvPr id="17" name="Free-form: Shape 16">
            <a:extLst>
              <a:ext uri="{FF2B5EF4-FFF2-40B4-BE49-F238E27FC236}">
                <a16:creationId xmlns:a16="http://schemas.microsoft.com/office/drawing/2014/main" id="{CEC8CFAE-E1EE-3769-47C7-D391789705F1}"/>
              </a:ext>
            </a:extLst>
          </p:cNvPr>
          <p:cNvSpPr>
            <a:spLocks/>
          </p:cNvSpPr>
          <p:nvPr userDrawn="1"/>
        </p:nvSpPr>
        <p:spPr>
          <a:xfrm>
            <a:off x="1145810" y="0"/>
            <a:ext cx="5450252" cy="5971964"/>
          </a:xfrm>
          <a:custGeom>
            <a:avLst/>
            <a:gdLst>
              <a:gd name="connsiteX0" fmla="*/ 1365757 w 5450252"/>
              <a:gd name="connsiteY0" fmla="*/ 0 h 5971964"/>
              <a:gd name="connsiteX1" fmla="*/ 3973095 w 5450252"/>
              <a:gd name="connsiteY1" fmla="*/ 0 h 5971964"/>
              <a:gd name="connsiteX2" fmla="*/ 3976862 w 5450252"/>
              <a:gd name="connsiteY2" fmla="*/ 11348 h 5971964"/>
              <a:gd name="connsiteX3" fmla="*/ 3868989 w 5450252"/>
              <a:gd name="connsiteY3" fmla="*/ 791840 h 5971964"/>
              <a:gd name="connsiteX4" fmla="*/ 4250052 w 5450252"/>
              <a:gd name="connsiteY4" fmla="*/ 2206507 h 5971964"/>
              <a:gd name="connsiteX5" fmla="*/ 4768799 w 5450252"/>
              <a:gd name="connsiteY5" fmla="*/ 2345488 h 5971964"/>
              <a:gd name="connsiteX6" fmla="*/ 5428745 w 5450252"/>
              <a:gd name="connsiteY6" fmla="*/ 2582399 h 5971964"/>
              <a:gd name="connsiteX7" fmla="*/ 5450252 w 5450252"/>
              <a:gd name="connsiteY7" fmla="*/ 2601946 h 5971964"/>
              <a:gd name="connsiteX8" fmla="*/ 5450252 w 5450252"/>
              <a:gd name="connsiteY8" fmla="*/ 4164020 h 5971964"/>
              <a:gd name="connsiteX9" fmla="*/ 5428745 w 5450252"/>
              <a:gd name="connsiteY9" fmla="*/ 4183566 h 5971964"/>
              <a:gd name="connsiteX10" fmla="*/ 4768799 w 5450252"/>
              <a:gd name="connsiteY10" fmla="*/ 4420477 h 5971964"/>
              <a:gd name="connsiteX11" fmla="*/ 4765773 w 5450252"/>
              <a:gd name="connsiteY11" fmla="*/ 4420477 h 5971964"/>
              <a:gd name="connsiteX12" fmla="*/ 3870286 w 5450252"/>
              <a:gd name="connsiteY12" fmla="*/ 4939225 h 5971964"/>
              <a:gd name="connsiteX13" fmla="*/ 3833325 w 5450252"/>
              <a:gd name="connsiteY13" fmla="*/ 4998881 h 5971964"/>
              <a:gd name="connsiteX14" fmla="*/ 2074989 w 5450252"/>
              <a:gd name="connsiteY14" fmla="*/ 5971964 h 5971964"/>
              <a:gd name="connsiteX15" fmla="*/ 0 w 5450252"/>
              <a:gd name="connsiteY15" fmla="*/ 3896975 h 5971964"/>
              <a:gd name="connsiteX16" fmla="*/ 301521 w 5450252"/>
              <a:gd name="connsiteY16" fmla="*/ 2819277 h 5971964"/>
              <a:gd name="connsiteX17" fmla="*/ 277529 w 5450252"/>
              <a:gd name="connsiteY17" fmla="*/ 1827605 h 5971964"/>
              <a:gd name="connsiteX18" fmla="*/ 277313 w 5450252"/>
              <a:gd name="connsiteY18" fmla="*/ 1827822 h 5971964"/>
              <a:gd name="connsiteX19" fmla="*/ 162973 w 5450252"/>
              <a:gd name="connsiteY19" fmla="*/ 1079745 h 5971964"/>
              <a:gd name="connsiteX20" fmla="*/ 656215 w 5450252"/>
              <a:gd name="connsiteY20" fmla="*/ 409696 h 5971964"/>
              <a:gd name="connsiteX21" fmla="*/ 1365757 w 5450252"/>
              <a:gd name="connsiteY21" fmla="*/ 0 h 59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50252" h="5971964">
                <a:moveTo>
                  <a:pt x="1365757" y="0"/>
                </a:moveTo>
                <a:lnTo>
                  <a:pt x="3973095" y="0"/>
                </a:lnTo>
                <a:lnTo>
                  <a:pt x="3976862" y="11348"/>
                </a:lnTo>
                <a:cubicBezTo>
                  <a:pt x="4045769" y="277834"/>
                  <a:pt x="4004188" y="558728"/>
                  <a:pt x="3868989" y="791840"/>
                </a:cubicBezTo>
                <a:cubicBezTo>
                  <a:pt x="3584543" y="1287676"/>
                  <a:pt x="3754649" y="1920548"/>
                  <a:pt x="4250052" y="2206507"/>
                </a:cubicBezTo>
                <a:cubicBezTo>
                  <a:pt x="4413025" y="2300530"/>
                  <a:pt x="4593290" y="2345272"/>
                  <a:pt x="4768799" y="2345488"/>
                </a:cubicBezTo>
                <a:cubicBezTo>
                  <a:pt x="5019486" y="2345488"/>
                  <a:pt x="5249405" y="2434395"/>
                  <a:pt x="5428745" y="2582399"/>
                </a:cubicBezTo>
                <a:lnTo>
                  <a:pt x="5450252" y="2601946"/>
                </a:lnTo>
                <a:lnTo>
                  <a:pt x="5450252" y="4164020"/>
                </a:lnTo>
                <a:lnTo>
                  <a:pt x="5428745" y="4183566"/>
                </a:lnTo>
                <a:cubicBezTo>
                  <a:pt x="5249405" y="4331570"/>
                  <a:pt x="5019486" y="4420477"/>
                  <a:pt x="4768799" y="4420477"/>
                </a:cubicBezTo>
                <a:cubicBezTo>
                  <a:pt x="4767719" y="4420477"/>
                  <a:pt x="4766854" y="4420477"/>
                  <a:pt x="4765773" y="4420477"/>
                </a:cubicBezTo>
                <a:cubicBezTo>
                  <a:pt x="4408703" y="4421774"/>
                  <a:pt x="4061790" y="4607659"/>
                  <a:pt x="3870286" y="4939225"/>
                </a:cubicBezTo>
                <a:cubicBezTo>
                  <a:pt x="3858614" y="4959542"/>
                  <a:pt x="3846294" y="4979428"/>
                  <a:pt x="3833325" y="4998881"/>
                </a:cubicBezTo>
                <a:cubicBezTo>
                  <a:pt x="3466312" y="5583336"/>
                  <a:pt x="2816149" y="5971964"/>
                  <a:pt x="2074989" y="5971964"/>
                </a:cubicBezTo>
                <a:cubicBezTo>
                  <a:pt x="928989" y="5971964"/>
                  <a:pt x="0" y="5042974"/>
                  <a:pt x="0" y="3896975"/>
                </a:cubicBezTo>
                <a:cubicBezTo>
                  <a:pt x="0" y="3502295"/>
                  <a:pt x="110234" y="3133336"/>
                  <a:pt x="301521" y="2819277"/>
                </a:cubicBezTo>
                <a:cubicBezTo>
                  <a:pt x="456281" y="2516459"/>
                  <a:pt x="460172" y="2144041"/>
                  <a:pt x="277529" y="1827605"/>
                </a:cubicBezTo>
                <a:lnTo>
                  <a:pt x="277313" y="1827822"/>
                </a:lnTo>
                <a:cubicBezTo>
                  <a:pt x="150868" y="1609731"/>
                  <a:pt x="103101" y="1345171"/>
                  <a:pt x="162973" y="1079745"/>
                </a:cubicBezTo>
                <a:cubicBezTo>
                  <a:pt x="229329" y="785788"/>
                  <a:pt x="414349" y="549326"/>
                  <a:pt x="656215" y="409696"/>
                </a:cubicBezTo>
                <a:lnTo>
                  <a:pt x="1365757" y="0"/>
                </a:ln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6473B17B-8A70-B0D1-D49F-AFE0B5EB035E}"/>
              </a:ext>
            </a:extLst>
          </p:cNvPr>
          <p:cNvSpPr>
            <a:spLocks/>
          </p:cNvSpPr>
          <p:nvPr userDrawn="1"/>
        </p:nvSpPr>
        <p:spPr>
          <a:xfrm>
            <a:off x="3080738" y="1"/>
            <a:ext cx="3515325" cy="3382699"/>
          </a:xfrm>
          <a:custGeom>
            <a:avLst/>
            <a:gdLst>
              <a:gd name="connsiteX0" fmla="*/ 39293 w 3515325"/>
              <a:gd name="connsiteY0" fmla="*/ 0 h 3382699"/>
              <a:gd name="connsiteX1" fmla="*/ 3515325 w 3515325"/>
              <a:gd name="connsiteY1" fmla="*/ 0 h 3382699"/>
              <a:gd name="connsiteX2" fmla="*/ 3515325 w 3515325"/>
              <a:gd name="connsiteY2" fmla="*/ 2112865 h 3382699"/>
              <a:gd name="connsiteX3" fmla="*/ 1556025 w 3515325"/>
              <a:gd name="connsiteY3" fmla="*/ 3243570 h 3382699"/>
              <a:gd name="connsiteX4" fmla="*/ 138765 w 3515325"/>
              <a:gd name="connsiteY4" fmla="*/ 2863804 h 3382699"/>
              <a:gd name="connsiteX5" fmla="*/ 0 w 3515325"/>
              <a:gd name="connsiteY5" fmla="*/ 2345057 h 3382699"/>
              <a:gd name="connsiteX6" fmla="*/ 2593 w 3515325"/>
              <a:gd name="connsiteY6" fmla="*/ 270068 h 3382699"/>
              <a:gd name="connsiteX7" fmla="*/ 23652 w 3515325"/>
              <a:gd name="connsiteY7" fmla="*/ 60919 h 3382699"/>
              <a:gd name="connsiteX8" fmla="*/ 39293 w 3515325"/>
              <a:gd name="connsiteY8" fmla="*/ 0 h 338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5325" h="3382699">
                <a:moveTo>
                  <a:pt x="39293" y="0"/>
                </a:moveTo>
                <a:lnTo>
                  <a:pt x="3515325" y="0"/>
                </a:lnTo>
                <a:lnTo>
                  <a:pt x="3515325" y="2112865"/>
                </a:lnTo>
                <a:lnTo>
                  <a:pt x="1556025" y="3243570"/>
                </a:lnTo>
                <a:cubicBezTo>
                  <a:pt x="1059757" y="3529962"/>
                  <a:pt x="425373" y="3360072"/>
                  <a:pt x="138765" y="2863804"/>
                </a:cubicBezTo>
                <a:cubicBezTo>
                  <a:pt x="44310" y="2700183"/>
                  <a:pt x="-216" y="2521431"/>
                  <a:pt x="0" y="2345057"/>
                </a:cubicBezTo>
                <a:cubicBezTo>
                  <a:pt x="0" y="2345057"/>
                  <a:pt x="2593" y="270068"/>
                  <a:pt x="2593" y="270068"/>
                </a:cubicBezTo>
                <a:cubicBezTo>
                  <a:pt x="2593" y="198443"/>
                  <a:pt x="9844" y="128493"/>
                  <a:pt x="23652" y="60919"/>
                </a:cubicBezTo>
                <a:lnTo>
                  <a:pt x="39293" y="0"/>
                </a:lnTo>
                <a:close/>
              </a:path>
            </a:pathLst>
          </a:custGeom>
          <a:gradFill>
            <a:gsLst>
              <a:gs pos="22000">
                <a:srgbClr val="FF585D"/>
              </a:gs>
              <a:gs pos="100000">
                <a:schemeClr val="bg2"/>
              </a:gs>
            </a:gsLst>
            <a:lin ang="18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711ED8FE-DE7A-CC75-864D-5CCFE2C5EAB7}"/>
              </a:ext>
            </a:extLst>
          </p:cNvPr>
          <p:cNvSpPr>
            <a:spLocks/>
          </p:cNvSpPr>
          <p:nvPr userDrawn="1"/>
        </p:nvSpPr>
        <p:spPr>
          <a:xfrm rot="10800000">
            <a:off x="3080307" y="0"/>
            <a:ext cx="3066877" cy="3382700"/>
          </a:xfrm>
          <a:custGeom>
            <a:avLst/>
            <a:gdLst>
              <a:gd name="connsiteX0" fmla="*/ 3028468 w 3066877"/>
              <a:gd name="connsiteY0" fmla="*/ 3382700 h 3382700"/>
              <a:gd name="connsiteX1" fmla="*/ 1028205 w 3066877"/>
              <a:gd name="connsiteY1" fmla="*/ 3382700 h 3382700"/>
              <a:gd name="connsiteX2" fmla="*/ 1024509 w 3066877"/>
              <a:gd name="connsiteY2" fmla="*/ 3371567 h 3382700"/>
              <a:gd name="connsiteX3" fmla="*/ 1132382 w 3066877"/>
              <a:gd name="connsiteY3" fmla="*/ 2591075 h 3382700"/>
              <a:gd name="connsiteX4" fmla="*/ 751319 w 3066877"/>
              <a:gd name="connsiteY4" fmla="*/ 1176408 h 3382700"/>
              <a:gd name="connsiteX5" fmla="*/ 232572 w 3066877"/>
              <a:gd name="connsiteY5" fmla="*/ 1037427 h 3382700"/>
              <a:gd name="connsiteX6" fmla="*/ 0 w 3066877"/>
              <a:gd name="connsiteY6" fmla="*/ 1010841 h 3382700"/>
              <a:gd name="connsiteX7" fmla="*/ 1510419 w 3066877"/>
              <a:gd name="connsiteY7" fmla="*/ 139130 h 3382700"/>
              <a:gd name="connsiteX8" fmla="*/ 2927679 w 3066877"/>
              <a:gd name="connsiteY8" fmla="*/ 518896 h 3382700"/>
              <a:gd name="connsiteX9" fmla="*/ 2928112 w 3066877"/>
              <a:gd name="connsiteY9" fmla="*/ 518896 h 3382700"/>
              <a:gd name="connsiteX10" fmla="*/ 3066877 w 3066877"/>
              <a:gd name="connsiteY10" fmla="*/ 1037643 h 3382700"/>
              <a:gd name="connsiteX11" fmla="*/ 3064283 w 3066877"/>
              <a:gd name="connsiteY11" fmla="*/ 3112632 h 3382700"/>
              <a:gd name="connsiteX12" fmla="*/ 3054852 w 3066877"/>
              <a:gd name="connsiteY12" fmla="*/ 3253186 h 3382700"/>
              <a:gd name="connsiteX13" fmla="*/ 3028468 w 3066877"/>
              <a:gd name="connsiteY13" fmla="*/ 3382700 h 338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6877" h="3382700">
                <a:moveTo>
                  <a:pt x="3028468" y="3382700"/>
                </a:moveTo>
                <a:lnTo>
                  <a:pt x="1028205" y="3382700"/>
                </a:lnTo>
                <a:lnTo>
                  <a:pt x="1024509" y="3371567"/>
                </a:lnTo>
                <a:cubicBezTo>
                  <a:pt x="955603" y="3105081"/>
                  <a:pt x="997183" y="2824187"/>
                  <a:pt x="1132382" y="2591075"/>
                </a:cubicBezTo>
                <a:cubicBezTo>
                  <a:pt x="1416828" y="2095239"/>
                  <a:pt x="1246722" y="1462367"/>
                  <a:pt x="751319" y="1176408"/>
                </a:cubicBezTo>
                <a:cubicBezTo>
                  <a:pt x="588346" y="1082385"/>
                  <a:pt x="408081" y="1037643"/>
                  <a:pt x="232572" y="1037427"/>
                </a:cubicBezTo>
                <a:cubicBezTo>
                  <a:pt x="152598" y="1037427"/>
                  <a:pt x="74786" y="1027917"/>
                  <a:pt x="0" y="1010841"/>
                </a:cubicBezTo>
                <a:lnTo>
                  <a:pt x="1510419" y="139130"/>
                </a:lnTo>
                <a:cubicBezTo>
                  <a:pt x="2006687" y="-147262"/>
                  <a:pt x="2641072" y="22628"/>
                  <a:pt x="2927679" y="518896"/>
                </a:cubicBezTo>
                <a:lnTo>
                  <a:pt x="2928112" y="518896"/>
                </a:lnTo>
                <a:cubicBezTo>
                  <a:pt x="3022567" y="682517"/>
                  <a:pt x="3066877" y="861269"/>
                  <a:pt x="3066877" y="1037643"/>
                </a:cubicBezTo>
                <a:lnTo>
                  <a:pt x="3064283" y="3112632"/>
                </a:lnTo>
                <a:cubicBezTo>
                  <a:pt x="3064283" y="3160292"/>
                  <a:pt x="3061071" y="3207212"/>
                  <a:pt x="3054852" y="3253186"/>
                </a:cubicBezTo>
                <a:lnTo>
                  <a:pt x="3028468" y="3382700"/>
                </a:lnTo>
                <a:close/>
              </a:path>
            </a:pathLst>
          </a:custGeom>
          <a:solidFill>
            <a:srgbClr val="FF585D"/>
          </a:solidFill>
          <a:ln w="0"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710565" y="6134100"/>
            <a:ext cx="5137785" cy="1632545"/>
          </a:xfrm>
        </p:spPr>
        <p:txBody>
          <a:bodyPr anchor="b" anchorCtr="0"/>
          <a:lstStyle>
            <a:lvl1pPr algn="l">
              <a:lnSpc>
                <a:spcPct val="90000"/>
              </a:lnSpc>
              <a:defRPr sz="5267" spc="-132" baseline="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710565" y="8001858"/>
            <a:ext cx="5137785" cy="751406"/>
          </a:xfrm>
        </p:spPr>
        <p:txBody>
          <a:bodyPr anchor="t" anchorCtr="0"/>
          <a:lstStyle>
            <a:lvl1pPr marL="0" indent="0" algn="l">
              <a:spcBef>
                <a:spcPts val="0"/>
              </a:spcBef>
              <a:buNone/>
              <a:defRPr sz="2634"/>
            </a:lvl1pPr>
            <a:lvl2pPr marL="602009" indent="0" algn="ctr">
              <a:buNone/>
              <a:defRPr sz="2634"/>
            </a:lvl2pPr>
            <a:lvl3pPr marL="1204016" indent="0" algn="ctr">
              <a:buNone/>
              <a:defRPr sz="2371"/>
            </a:lvl3pPr>
            <a:lvl4pPr marL="1806026" indent="0" algn="ctr">
              <a:buNone/>
              <a:defRPr sz="2107"/>
            </a:lvl4pPr>
            <a:lvl5pPr marL="2408033" indent="0" algn="ctr">
              <a:buNone/>
              <a:defRPr sz="2107"/>
            </a:lvl5pPr>
            <a:lvl6pPr marL="3010042" indent="0" algn="ctr">
              <a:buNone/>
              <a:defRPr sz="2107"/>
            </a:lvl6pPr>
            <a:lvl7pPr marL="3612050" indent="0" algn="ctr">
              <a:buNone/>
              <a:defRPr sz="2107"/>
            </a:lvl7pPr>
            <a:lvl8pPr marL="4214059" indent="0" algn="ctr">
              <a:buNone/>
              <a:defRPr sz="2107"/>
            </a:lvl8pPr>
            <a:lvl9pPr marL="4816068" indent="0" algn="ctr">
              <a:buNone/>
              <a:defRPr sz="2107"/>
            </a:lvl9pPr>
          </a:lstStyle>
          <a:p>
            <a:r>
              <a:rPr lang="en-US" dirty="0"/>
              <a:t>Click to edit Master subtitle style</a:t>
            </a:r>
            <a:endParaRPr lang="en-GB" dirty="0"/>
          </a:p>
        </p:txBody>
      </p:sp>
      <p:sp>
        <p:nvSpPr>
          <p:cNvPr id="16" name="Picture Placeholder 15">
            <a:extLst>
              <a:ext uri="{FF2B5EF4-FFF2-40B4-BE49-F238E27FC236}">
                <a16:creationId xmlns:a16="http://schemas.microsoft.com/office/drawing/2014/main" id="{1986BD9D-8034-196F-8D66-419F208916BB}"/>
              </a:ext>
            </a:extLst>
          </p:cNvPr>
          <p:cNvSpPr>
            <a:spLocks noGrp="1"/>
          </p:cNvSpPr>
          <p:nvPr>
            <p:ph type="pic" sz="quarter" idx="10"/>
          </p:nvPr>
        </p:nvSpPr>
        <p:spPr>
          <a:xfrm>
            <a:off x="1145811" y="-57150"/>
            <a:ext cx="5450252" cy="5971964"/>
          </a:xfrm>
          <a:custGeom>
            <a:avLst/>
            <a:gdLst>
              <a:gd name="connsiteX0" fmla="*/ 1365757 w 5450252"/>
              <a:gd name="connsiteY0" fmla="*/ 0 h 5971964"/>
              <a:gd name="connsiteX1" fmla="*/ 1972906 w 5450252"/>
              <a:gd name="connsiteY1" fmla="*/ 0 h 5971964"/>
              <a:gd name="connsiteX2" fmla="*/ 1946522 w 5450252"/>
              <a:gd name="connsiteY2" fmla="*/ 129514 h 5971964"/>
              <a:gd name="connsiteX3" fmla="*/ 1937091 w 5450252"/>
              <a:gd name="connsiteY3" fmla="*/ 270068 h 5971964"/>
              <a:gd name="connsiteX4" fmla="*/ 1934497 w 5450252"/>
              <a:gd name="connsiteY4" fmla="*/ 2345057 h 5971964"/>
              <a:gd name="connsiteX5" fmla="*/ 2073262 w 5450252"/>
              <a:gd name="connsiteY5" fmla="*/ 2863804 h 5971964"/>
              <a:gd name="connsiteX6" fmla="*/ 2073695 w 5450252"/>
              <a:gd name="connsiteY6" fmla="*/ 2863804 h 5971964"/>
              <a:gd name="connsiteX7" fmla="*/ 3490955 w 5450252"/>
              <a:gd name="connsiteY7" fmla="*/ 3243570 h 5971964"/>
              <a:gd name="connsiteX8" fmla="*/ 5000378 w 5450252"/>
              <a:gd name="connsiteY8" fmla="*/ 2372434 h 5971964"/>
              <a:gd name="connsiteX9" fmla="*/ 5040488 w 5450252"/>
              <a:gd name="connsiteY9" fmla="*/ 2381424 h 5971964"/>
              <a:gd name="connsiteX10" fmla="*/ 5428745 w 5450252"/>
              <a:gd name="connsiteY10" fmla="*/ 2582399 h 5971964"/>
              <a:gd name="connsiteX11" fmla="*/ 5450252 w 5450252"/>
              <a:gd name="connsiteY11" fmla="*/ 2601946 h 5971964"/>
              <a:gd name="connsiteX12" fmla="*/ 5450252 w 5450252"/>
              <a:gd name="connsiteY12" fmla="*/ 4164020 h 5971964"/>
              <a:gd name="connsiteX13" fmla="*/ 5428745 w 5450252"/>
              <a:gd name="connsiteY13" fmla="*/ 4183566 h 5971964"/>
              <a:gd name="connsiteX14" fmla="*/ 4768799 w 5450252"/>
              <a:gd name="connsiteY14" fmla="*/ 4420477 h 5971964"/>
              <a:gd name="connsiteX15" fmla="*/ 4765773 w 5450252"/>
              <a:gd name="connsiteY15" fmla="*/ 4420477 h 5971964"/>
              <a:gd name="connsiteX16" fmla="*/ 3870286 w 5450252"/>
              <a:gd name="connsiteY16" fmla="*/ 4939225 h 5971964"/>
              <a:gd name="connsiteX17" fmla="*/ 3833325 w 5450252"/>
              <a:gd name="connsiteY17" fmla="*/ 4998881 h 5971964"/>
              <a:gd name="connsiteX18" fmla="*/ 2074989 w 5450252"/>
              <a:gd name="connsiteY18" fmla="*/ 5971964 h 5971964"/>
              <a:gd name="connsiteX19" fmla="*/ 0 w 5450252"/>
              <a:gd name="connsiteY19" fmla="*/ 3896975 h 5971964"/>
              <a:gd name="connsiteX20" fmla="*/ 301521 w 5450252"/>
              <a:gd name="connsiteY20" fmla="*/ 2819277 h 5971964"/>
              <a:gd name="connsiteX21" fmla="*/ 277529 w 5450252"/>
              <a:gd name="connsiteY21" fmla="*/ 1827605 h 5971964"/>
              <a:gd name="connsiteX22" fmla="*/ 277313 w 5450252"/>
              <a:gd name="connsiteY22" fmla="*/ 1827822 h 5971964"/>
              <a:gd name="connsiteX23" fmla="*/ 162973 w 5450252"/>
              <a:gd name="connsiteY23" fmla="*/ 1079745 h 5971964"/>
              <a:gd name="connsiteX24" fmla="*/ 656215 w 5450252"/>
              <a:gd name="connsiteY24" fmla="*/ 409696 h 597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50252" h="5971964">
                <a:moveTo>
                  <a:pt x="1365757" y="0"/>
                </a:moveTo>
                <a:lnTo>
                  <a:pt x="1972906" y="0"/>
                </a:lnTo>
                <a:lnTo>
                  <a:pt x="1946522" y="129514"/>
                </a:lnTo>
                <a:cubicBezTo>
                  <a:pt x="1940303" y="175488"/>
                  <a:pt x="1937091" y="222408"/>
                  <a:pt x="1937091" y="270068"/>
                </a:cubicBezTo>
                <a:lnTo>
                  <a:pt x="1934497" y="2345057"/>
                </a:lnTo>
                <a:cubicBezTo>
                  <a:pt x="1934497" y="2521431"/>
                  <a:pt x="1978807" y="2700183"/>
                  <a:pt x="2073262" y="2863804"/>
                </a:cubicBezTo>
                <a:lnTo>
                  <a:pt x="2073695" y="2863804"/>
                </a:lnTo>
                <a:cubicBezTo>
                  <a:pt x="2360302" y="3360072"/>
                  <a:pt x="2994687" y="3529962"/>
                  <a:pt x="3490955" y="3243570"/>
                </a:cubicBezTo>
                <a:lnTo>
                  <a:pt x="5000378" y="2372434"/>
                </a:lnTo>
                <a:lnTo>
                  <a:pt x="5040488" y="2381424"/>
                </a:lnTo>
                <a:cubicBezTo>
                  <a:pt x="5184813" y="2420479"/>
                  <a:pt x="5316658" y="2489896"/>
                  <a:pt x="5428745" y="2582399"/>
                </a:cubicBezTo>
                <a:lnTo>
                  <a:pt x="5450252" y="2601946"/>
                </a:lnTo>
                <a:lnTo>
                  <a:pt x="5450252" y="4164020"/>
                </a:lnTo>
                <a:lnTo>
                  <a:pt x="5428745" y="4183566"/>
                </a:lnTo>
                <a:cubicBezTo>
                  <a:pt x="5249405" y="4331570"/>
                  <a:pt x="5019486" y="4420477"/>
                  <a:pt x="4768799" y="4420477"/>
                </a:cubicBezTo>
                <a:cubicBezTo>
                  <a:pt x="4767719" y="4420477"/>
                  <a:pt x="4766854" y="4420477"/>
                  <a:pt x="4765773" y="4420477"/>
                </a:cubicBezTo>
                <a:cubicBezTo>
                  <a:pt x="4408703" y="4421774"/>
                  <a:pt x="4061790" y="4607659"/>
                  <a:pt x="3870286" y="4939225"/>
                </a:cubicBezTo>
                <a:cubicBezTo>
                  <a:pt x="3858614" y="4959542"/>
                  <a:pt x="3846294" y="4979428"/>
                  <a:pt x="3833325" y="4998881"/>
                </a:cubicBezTo>
                <a:cubicBezTo>
                  <a:pt x="3466312" y="5583336"/>
                  <a:pt x="2816149" y="5971964"/>
                  <a:pt x="2074989" y="5971964"/>
                </a:cubicBezTo>
                <a:cubicBezTo>
                  <a:pt x="928989" y="5971964"/>
                  <a:pt x="0" y="5042974"/>
                  <a:pt x="0" y="3896975"/>
                </a:cubicBezTo>
                <a:cubicBezTo>
                  <a:pt x="0" y="3502295"/>
                  <a:pt x="110234" y="3133336"/>
                  <a:pt x="301521" y="2819277"/>
                </a:cubicBezTo>
                <a:cubicBezTo>
                  <a:pt x="456281" y="2516459"/>
                  <a:pt x="460172" y="2144041"/>
                  <a:pt x="277529" y="1827605"/>
                </a:cubicBezTo>
                <a:lnTo>
                  <a:pt x="277313" y="1827822"/>
                </a:lnTo>
                <a:cubicBezTo>
                  <a:pt x="150868" y="1609731"/>
                  <a:pt x="103101" y="1345171"/>
                  <a:pt x="162973" y="1079745"/>
                </a:cubicBezTo>
                <a:cubicBezTo>
                  <a:pt x="229329" y="785788"/>
                  <a:pt x="414349" y="549326"/>
                  <a:pt x="656215" y="409696"/>
                </a:cubicBezTo>
                <a:close/>
              </a:path>
            </a:pathLst>
          </a:custGeom>
        </p:spPr>
        <p:txBody>
          <a:bodyPr wrap="square">
            <a:noAutofit/>
          </a:bodyPr>
          <a:lstStyle/>
          <a:p>
            <a:endParaRPr lang="en-US"/>
          </a:p>
        </p:txBody>
      </p:sp>
    </p:spTree>
    <p:extLst>
      <p:ext uri="{BB962C8B-B14F-4D97-AF65-F5344CB8AC3E}">
        <p14:creationId xmlns:p14="http://schemas.microsoft.com/office/powerpoint/2010/main" val="3173655086"/>
      </p:ext>
    </p:extLst>
  </p:cSld>
  <p:clrMapOvr>
    <a:masterClrMapping/>
  </p:clrMapOvr>
  <p:extLst>
    <p:ext uri="{DCECCB84-F9BA-43D5-87BE-67443E8EF086}">
      <p15:sldGuideLst xmlns:p15="http://schemas.microsoft.com/office/powerpoint/2012/main">
        <p15:guide id="1" orient="horz" pos="294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8799698-3815-8DC5-1E92-14E8D3FEBDB0}"/>
              </a:ext>
            </a:extLst>
          </p:cNvPr>
          <p:cNvPicPr>
            <a:picLocks noChangeAspect="1"/>
          </p:cNvPicPr>
          <p:nvPr userDrawn="1"/>
        </p:nvPicPr>
        <p:blipFill>
          <a:blip r:embed="rId2">
            <a:alphaModFix amt="55000"/>
            <a:extLst>
              <a:ext uri="{28A0092B-C50C-407E-A947-70E740481C1C}">
                <a14:useLocalDpi xmlns:a14="http://schemas.microsoft.com/office/drawing/2010/main" val="0"/>
              </a:ext>
            </a:extLst>
          </a:blip>
          <a:stretch>
            <a:fillRect/>
          </a:stretch>
        </p:blipFill>
        <p:spPr>
          <a:xfrm>
            <a:off x="0" y="-14592"/>
            <a:ext cx="6577013" cy="9389085"/>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710565" y="6134100"/>
            <a:ext cx="5137785" cy="1632545"/>
          </a:xfrm>
        </p:spPr>
        <p:txBody>
          <a:bodyPr anchor="b" anchorCtr="0"/>
          <a:lstStyle>
            <a:lvl1pPr algn="l">
              <a:lnSpc>
                <a:spcPct val="90000"/>
              </a:lnSpc>
              <a:defRPr sz="5267" spc="-132" baseline="0"/>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710565" y="8001858"/>
            <a:ext cx="5137785" cy="751406"/>
          </a:xfrm>
        </p:spPr>
        <p:txBody>
          <a:bodyPr anchor="t" anchorCtr="0"/>
          <a:lstStyle>
            <a:lvl1pPr marL="0" indent="0" algn="l">
              <a:spcBef>
                <a:spcPts val="0"/>
              </a:spcBef>
              <a:buNone/>
              <a:defRPr sz="2634"/>
            </a:lvl1pPr>
            <a:lvl2pPr marL="602009" indent="0" algn="ctr">
              <a:buNone/>
              <a:defRPr sz="2634"/>
            </a:lvl2pPr>
            <a:lvl3pPr marL="1204016" indent="0" algn="ctr">
              <a:buNone/>
              <a:defRPr sz="2371"/>
            </a:lvl3pPr>
            <a:lvl4pPr marL="1806026" indent="0" algn="ctr">
              <a:buNone/>
              <a:defRPr sz="2107"/>
            </a:lvl4pPr>
            <a:lvl5pPr marL="2408033" indent="0" algn="ctr">
              <a:buNone/>
              <a:defRPr sz="2107"/>
            </a:lvl5pPr>
            <a:lvl6pPr marL="3010042" indent="0" algn="ctr">
              <a:buNone/>
              <a:defRPr sz="2107"/>
            </a:lvl6pPr>
            <a:lvl7pPr marL="3612050" indent="0" algn="ctr">
              <a:buNone/>
              <a:defRPr sz="2107"/>
            </a:lvl7pPr>
            <a:lvl8pPr marL="4214059" indent="0" algn="ctr">
              <a:buNone/>
              <a:defRPr sz="2107"/>
            </a:lvl8pPr>
            <a:lvl9pPr marL="4816068" indent="0" algn="ctr">
              <a:buNone/>
              <a:defRPr sz="2107"/>
            </a:lvl9pPr>
          </a:lstStyle>
          <a:p>
            <a:r>
              <a:rPr lang="en-US" dirty="0"/>
              <a:t>Click to edit Master subtitle style</a:t>
            </a:r>
            <a:endParaRPr lang="en-GB" dirty="0"/>
          </a:p>
        </p:txBody>
      </p:sp>
    </p:spTree>
    <p:extLst>
      <p:ext uri="{BB962C8B-B14F-4D97-AF65-F5344CB8AC3E}">
        <p14:creationId xmlns:p14="http://schemas.microsoft.com/office/powerpoint/2010/main" val="3964164139"/>
      </p:ext>
    </p:extLst>
  </p:cSld>
  <p:clrMapOvr>
    <a:masterClrMapping/>
  </p:clrMapOvr>
  <p:extLst>
    <p:ext uri="{DCECCB84-F9BA-43D5-87BE-67443E8EF086}">
      <p15:sldGuideLst xmlns:p15="http://schemas.microsoft.com/office/powerpoint/2012/main">
        <p15:guide id="1" orient="horz" pos="29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456738" y="538163"/>
            <a:ext cx="5663539" cy="809698"/>
          </a:xfrm>
        </p:spPr>
        <p:txBody>
          <a:bodyPr/>
          <a:lstStyle>
            <a:lvl1pPr>
              <a:defRPr sz="2917"/>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456738" y="2147701"/>
            <a:ext cx="5663539" cy="61115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a:xfrm>
            <a:off x="4328726" y="8694571"/>
            <a:ext cx="1553625" cy="245667"/>
          </a:xfrm>
          <a:prstGeom prst="rect">
            <a:avLst/>
          </a:prstGeom>
        </p:spPr>
        <p:txBody>
          <a:bodyPr lIns="0" tIns="0" rIns="0" bIns="0"/>
          <a:lstStyle>
            <a:lvl1pPr>
              <a:defRPr sz="1276"/>
            </a:lvl1p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a:xfrm>
            <a:off x="6006358" y="8694571"/>
            <a:ext cx="250939" cy="245667"/>
          </a:xfrm>
          <a:prstGeom prst="rect">
            <a:avLst/>
          </a:prstGeom>
        </p:spPr>
        <p:txBody>
          <a:bodyPr lIns="0" tIns="0" rIns="0" bIns="0"/>
          <a:lstStyle>
            <a:lvl1pPr>
              <a:defRPr sz="1276"/>
            </a:lvl1pPr>
          </a:lstStyle>
          <a:p>
            <a:fld id="{03CB0E19-F4C8-4F98-96D2-CE1ECDE59975}" type="slidenum">
              <a:rPr lang="en-GB" smtClean="0"/>
              <a:pPr/>
              <a:t>‹#›</a:t>
            </a:fld>
            <a:endParaRPr lang="en-GB"/>
          </a:p>
        </p:txBody>
      </p:sp>
      <p:grpSp>
        <p:nvGrpSpPr>
          <p:cNvPr id="20" name="Group 19">
            <a:extLst>
              <a:ext uri="{FF2B5EF4-FFF2-40B4-BE49-F238E27FC236}">
                <a16:creationId xmlns:a16="http://schemas.microsoft.com/office/drawing/2014/main" id="{3A95BF2B-0CC4-A0EF-C411-F36B9EF47BAC}"/>
              </a:ext>
            </a:extLst>
          </p:cNvPr>
          <p:cNvGrpSpPr/>
          <p:nvPr userDrawn="1"/>
        </p:nvGrpSpPr>
        <p:grpSpPr>
          <a:xfrm>
            <a:off x="485665" y="8635409"/>
            <a:ext cx="2734333" cy="301790"/>
            <a:chOff x="506413" y="9139238"/>
            <a:chExt cx="2851151" cy="319398"/>
          </a:xfrm>
        </p:grpSpPr>
        <p:pic>
          <p:nvPicPr>
            <p:cNvPr id="21" name="Picture 20">
              <a:extLst>
                <a:ext uri="{FF2B5EF4-FFF2-40B4-BE49-F238E27FC236}">
                  <a16:creationId xmlns:a16="http://schemas.microsoft.com/office/drawing/2014/main" id="{7470ED38-EC6A-4EFD-CF2A-117190B46DD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370" t="22897" r="4317" b="22897"/>
            <a:stretch/>
          </p:blipFill>
          <p:spPr bwMode="auto">
            <a:xfrm>
              <a:off x="724340" y="9139238"/>
              <a:ext cx="2633224" cy="319398"/>
            </a:xfrm>
            <a:prstGeom prst="rect">
              <a:avLst/>
            </a:prstGeom>
            <a:noFill/>
            <a:ln>
              <a:noFill/>
            </a:ln>
          </p:spPr>
        </p:pic>
        <p:pic>
          <p:nvPicPr>
            <p:cNvPr id="22" name="Picture 6">
              <a:extLst>
                <a:ext uri="{FF2B5EF4-FFF2-40B4-BE49-F238E27FC236}">
                  <a16:creationId xmlns:a16="http://schemas.microsoft.com/office/drawing/2014/main" id="{E45D0AB7-18AA-480E-B844-AF9B32AC94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6413" y="9212263"/>
              <a:ext cx="176213" cy="179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Freeform 7">
              <a:extLst>
                <a:ext uri="{FF2B5EF4-FFF2-40B4-BE49-F238E27FC236}">
                  <a16:creationId xmlns:a16="http://schemas.microsoft.com/office/drawing/2014/main" id="{48176CEF-61CF-3BC9-7EEA-B6859EB83A3F}"/>
                </a:ext>
              </a:extLst>
            </p:cNvPr>
            <p:cNvSpPr>
              <a:spLocks/>
            </p:cNvSpPr>
            <p:nvPr userDrawn="1"/>
          </p:nvSpPr>
          <p:spPr bwMode="auto">
            <a:xfrm>
              <a:off x="577850" y="9194800"/>
              <a:ext cx="33338" cy="153988"/>
            </a:xfrm>
            <a:custGeom>
              <a:avLst/>
              <a:gdLst>
                <a:gd name="T0" fmla="*/ 11 w 21"/>
                <a:gd name="T1" fmla="*/ 97 h 97"/>
                <a:gd name="T2" fmla="*/ 21 w 21"/>
                <a:gd name="T3" fmla="*/ 0 h 97"/>
                <a:gd name="T4" fmla="*/ 0 w 21"/>
                <a:gd name="T5" fmla="*/ 0 h 97"/>
                <a:gd name="T6" fmla="*/ 10 w 21"/>
                <a:gd name="T7" fmla="*/ 97 h 97"/>
                <a:gd name="T8" fmla="*/ 11 w 21"/>
                <a:gd name="T9" fmla="*/ 97 h 97"/>
              </a:gdLst>
              <a:ahLst/>
              <a:cxnLst>
                <a:cxn ang="0">
                  <a:pos x="T0" y="T1"/>
                </a:cxn>
                <a:cxn ang="0">
                  <a:pos x="T2" y="T3"/>
                </a:cxn>
                <a:cxn ang="0">
                  <a:pos x="T4" y="T5"/>
                </a:cxn>
                <a:cxn ang="0">
                  <a:pos x="T6" y="T7"/>
                </a:cxn>
                <a:cxn ang="0">
                  <a:pos x="T8" y="T9"/>
                </a:cxn>
              </a:cxnLst>
              <a:rect l="0" t="0" r="r" b="b"/>
              <a:pathLst>
                <a:path w="21" h="97">
                  <a:moveTo>
                    <a:pt x="11" y="97"/>
                  </a:moveTo>
                  <a:lnTo>
                    <a:pt x="21" y="0"/>
                  </a:lnTo>
                  <a:lnTo>
                    <a:pt x="0" y="0"/>
                  </a:lnTo>
                  <a:lnTo>
                    <a:pt x="10" y="97"/>
                  </a:lnTo>
                  <a:lnTo>
                    <a:pt x="11" y="97"/>
                  </a:lnTo>
                  <a:close/>
                </a:path>
              </a:pathLst>
            </a:custGeom>
            <a:solidFill>
              <a:srgbClr val="046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589"/>
            </a:p>
          </p:txBody>
        </p:sp>
      </p:grpSp>
    </p:spTree>
    <p:extLst>
      <p:ext uri="{BB962C8B-B14F-4D97-AF65-F5344CB8AC3E}">
        <p14:creationId xmlns:p14="http://schemas.microsoft.com/office/powerpoint/2010/main" val="359317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20FA1D8-9E63-495F-9794-B0D400275FAD}"/>
              </a:ext>
            </a:extLst>
          </p:cNvPr>
          <p:cNvPicPr>
            <a:picLocks noChangeAspect="1"/>
          </p:cNvPicPr>
          <p:nvPr userDrawn="1"/>
        </p:nvPicPr>
        <p:blipFill>
          <a:blip r:embed="rId9">
            <a:alphaModFix amt="55000"/>
            <a:extLst>
              <a:ext uri="{28A0092B-C50C-407E-A947-70E740481C1C}">
                <a14:useLocalDpi xmlns:a14="http://schemas.microsoft.com/office/drawing/2010/main" val="0"/>
              </a:ext>
            </a:extLst>
          </a:blip>
          <a:stretch>
            <a:fillRect/>
          </a:stretch>
        </p:blipFill>
        <p:spPr>
          <a:xfrm>
            <a:off x="-8313" y="-14592"/>
            <a:ext cx="6593638" cy="9389085"/>
          </a:xfrm>
          <a:prstGeom prst="rect">
            <a:avLst/>
          </a:prstGeom>
        </p:spPr>
      </p:pic>
      <p:pic>
        <p:nvPicPr>
          <p:cNvPr id="4" name="Picture 3">
            <a:extLst>
              <a:ext uri="{FF2B5EF4-FFF2-40B4-BE49-F238E27FC236}">
                <a16:creationId xmlns:a16="http://schemas.microsoft.com/office/drawing/2014/main" id="{9531A908-B231-5764-D7EB-27BD84FD71DB}"/>
              </a:ext>
            </a:extLst>
          </p:cNvPr>
          <p:cNvPicPr>
            <a:picLocks noChangeAspect="1"/>
          </p:cNvPicPr>
          <p:nvPr userDrawn="1"/>
        </p:nvPicPr>
        <p:blipFill>
          <a:blip r:embed="rId9">
            <a:alphaModFix amt="55000"/>
            <a:extLst>
              <a:ext uri="{28A0092B-C50C-407E-A947-70E740481C1C}">
                <a14:useLocalDpi xmlns:a14="http://schemas.microsoft.com/office/drawing/2010/main" val="0"/>
              </a:ext>
            </a:extLst>
          </a:blip>
          <a:stretch>
            <a:fillRect/>
          </a:stretch>
        </p:blipFill>
        <p:spPr>
          <a:xfrm>
            <a:off x="0" y="-14592"/>
            <a:ext cx="6577013" cy="9389085"/>
          </a:xfrm>
          <a:prstGeom prst="rect">
            <a:avLst/>
          </a:prstGeom>
        </p:spPr>
      </p:pic>
      <p:graphicFrame>
        <p:nvGraphicFramePr>
          <p:cNvPr id="5" name="think-cell data - do not delete" hidden="1">
            <a:extLst>
              <a:ext uri="{FF2B5EF4-FFF2-40B4-BE49-F238E27FC236}">
                <a16:creationId xmlns:a16="http://schemas.microsoft.com/office/drawing/2014/main" id="{538560C4-D3DB-1233-B81B-7BA8CC46F20E}"/>
              </a:ext>
            </a:extLst>
          </p:cNvPr>
          <p:cNvGraphicFramePr>
            <a:graphicFrameLocks noChangeAspect="1"/>
          </p:cNvGraphicFramePr>
          <p:nvPr userDrawn="1">
            <p:custDataLst>
              <p:tags r:id="rId8"/>
            </p:custDataLst>
            <p:extLst>
              <p:ext uri="{D42A27DB-BD31-4B8C-83A1-F6EECF244321}">
                <p14:modId xmlns:p14="http://schemas.microsoft.com/office/powerpoint/2010/main" val="1615443280"/>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think-cell data - do not delete" hidden="1">
                        <a:extLst>
                          <a:ext uri="{FF2B5EF4-FFF2-40B4-BE49-F238E27FC236}">
                            <a16:creationId xmlns:a16="http://schemas.microsoft.com/office/drawing/2014/main" id="{538560C4-D3DB-1233-B81B-7BA8CC46F20E}"/>
                          </a:ext>
                        </a:extLst>
                      </p:cNvPr>
                      <p:cNvPicPr/>
                      <p:nvPr/>
                    </p:nvPicPr>
                    <p:blipFill>
                      <a:blip r:embed="rId11"/>
                      <a:stretch>
                        <a:fillRect/>
                      </a:stretch>
                    </p:blipFill>
                    <p:spPr>
                      <a:xfrm>
                        <a:off x="1588" y="1588"/>
                        <a:ext cx="122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7A96AB-8025-800A-2C24-7E888FEFF7BD}"/>
              </a:ext>
            </a:extLst>
          </p:cNvPr>
          <p:cNvSpPr>
            <a:spLocks noGrp="1"/>
          </p:cNvSpPr>
          <p:nvPr>
            <p:ph type="title"/>
          </p:nvPr>
        </p:nvSpPr>
        <p:spPr>
          <a:xfrm>
            <a:off x="456738" y="538495"/>
            <a:ext cx="5663539" cy="1179804"/>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456738" y="2210976"/>
            <a:ext cx="5663539" cy="6060272"/>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r>
              <a:rPr lang="hr-HR" dirty="0"/>
              <a:t> </a:t>
            </a:r>
            <a:endParaRPr lang="en-GB" dirty="0"/>
          </a:p>
        </p:txBody>
      </p:sp>
    </p:spTree>
    <p:extLst>
      <p:ext uri="{BB962C8B-B14F-4D97-AF65-F5344CB8AC3E}">
        <p14:creationId xmlns:p14="http://schemas.microsoft.com/office/powerpoint/2010/main" val="2936477346"/>
      </p:ext>
    </p:extLst>
  </p:cSld>
  <p:clrMap bg1="lt1" tx1="dk1" bg2="lt2" tx2="dk2" accent1="accent1" accent2="accent2" accent3="accent3" accent4="accent4" accent5="accent5" accent6="accent6" hlink="hlink" folHlink="folHlink"/>
  <p:sldLayoutIdLst>
    <p:sldLayoutId id="2147483675" r:id="rId1"/>
    <p:sldLayoutId id="2147483679" r:id="rId2"/>
    <p:sldLayoutId id="2147483676" r:id="rId3"/>
    <p:sldLayoutId id="2147483677" r:id="rId4"/>
    <p:sldLayoutId id="2147483678" r:id="rId5"/>
    <p:sldLayoutId id="2147483650" r:id="rId6"/>
  </p:sldLayoutIdLst>
  <p:hf hdr="0" dt="0"/>
  <p:txStyles>
    <p:titleStyle>
      <a:lvl1pPr algn="l" defTabSz="1204016" rtl="0" eaLnBrk="1" latinLnBrk="0" hangingPunct="1">
        <a:lnSpc>
          <a:spcPct val="95000"/>
        </a:lnSpc>
        <a:spcBef>
          <a:spcPct val="0"/>
        </a:spcBef>
        <a:buNone/>
        <a:defRPr sz="3952" b="1" kern="1200">
          <a:solidFill>
            <a:srgbClr val="002068"/>
          </a:solidFill>
          <a:latin typeface="+mj-lt"/>
          <a:ea typeface="+mj-ea"/>
          <a:cs typeface="+mj-cs"/>
        </a:defRPr>
      </a:lvl1pPr>
    </p:titleStyle>
    <p:bodyStyle>
      <a:lvl1pPr marL="0" indent="0" algn="l" defTabSz="1204016" rtl="0" eaLnBrk="1" latinLnBrk="0" hangingPunct="1">
        <a:lnSpc>
          <a:spcPct val="95000"/>
        </a:lnSpc>
        <a:spcBef>
          <a:spcPts val="1318"/>
        </a:spcBef>
        <a:buFontTx/>
        <a:buNone/>
        <a:defRPr sz="2187" b="1" kern="1200">
          <a:solidFill>
            <a:srgbClr val="0460A9"/>
          </a:solidFill>
          <a:latin typeface="+mn-lt"/>
          <a:ea typeface="+mn-ea"/>
          <a:cs typeface="+mn-cs"/>
        </a:defRPr>
      </a:lvl1pPr>
      <a:lvl2pPr marL="0" indent="0" algn="l" defTabSz="1204016" rtl="0" eaLnBrk="1" latinLnBrk="0" hangingPunct="1">
        <a:lnSpc>
          <a:spcPct val="95000"/>
        </a:lnSpc>
        <a:spcBef>
          <a:spcPts val="922"/>
        </a:spcBef>
        <a:buFontTx/>
        <a:buNone/>
        <a:defRPr sz="2187" kern="1200">
          <a:solidFill>
            <a:schemeClr val="tx1"/>
          </a:solidFill>
          <a:latin typeface="+mn-lt"/>
          <a:ea typeface="+mn-ea"/>
          <a:cs typeface="+mn-cs"/>
        </a:defRPr>
      </a:lvl2pPr>
      <a:lvl3pPr marL="284414" indent="-284414" algn="l" defTabSz="1204016" rtl="0" eaLnBrk="1" latinLnBrk="0" hangingPunct="1">
        <a:lnSpc>
          <a:spcPct val="95000"/>
        </a:lnSpc>
        <a:spcBef>
          <a:spcPts val="791"/>
        </a:spcBef>
        <a:buClr>
          <a:srgbClr val="0460A9"/>
        </a:buClr>
        <a:buFont typeface="Ping LCG Medium" pitchFamily="50" charset="0"/>
        <a:buChar char="•"/>
        <a:defRPr sz="2187" kern="1200">
          <a:solidFill>
            <a:schemeClr val="tx1"/>
          </a:solidFill>
          <a:latin typeface="+mn-lt"/>
          <a:ea typeface="+mn-ea"/>
          <a:cs typeface="+mn-cs"/>
        </a:defRPr>
      </a:lvl3pPr>
      <a:lvl4pPr marL="645907" indent="-353263" algn="l" defTabSz="1204016" rtl="0" eaLnBrk="1" latinLnBrk="0" hangingPunct="1">
        <a:lnSpc>
          <a:spcPct val="95000"/>
        </a:lnSpc>
        <a:spcBef>
          <a:spcPts val="791"/>
        </a:spcBef>
        <a:buClr>
          <a:srgbClr val="0460A9"/>
        </a:buClr>
        <a:buFont typeface="Arial" panose="020B0604020202020204" pitchFamily="34" charset="0"/>
        <a:buChar char="–"/>
        <a:defRPr sz="1823" kern="1200">
          <a:solidFill>
            <a:schemeClr val="tx1"/>
          </a:solidFill>
          <a:latin typeface="+mn-lt"/>
          <a:ea typeface="+mn-ea"/>
          <a:cs typeface="+mn-cs"/>
        </a:defRPr>
      </a:lvl4pPr>
      <a:lvl5pPr marL="1017980" indent="-365806" algn="l" defTabSz="1204016" rtl="0" eaLnBrk="1" latinLnBrk="0" hangingPunct="1">
        <a:lnSpc>
          <a:spcPct val="95000"/>
        </a:lnSpc>
        <a:spcBef>
          <a:spcPts val="791"/>
        </a:spcBef>
        <a:buClr>
          <a:srgbClr val="0460A9"/>
        </a:buClr>
        <a:buFont typeface="Arial" panose="020B0604020202020204" pitchFamily="34" charset="0"/>
        <a:buChar char="–"/>
        <a:defRPr sz="1823" kern="1200">
          <a:solidFill>
            <a:schemeClr val="tx1"/>
          </a:solidFill>
          <a:latin typeface="+mn-lt"/>
          <a:ea typeface="+mn-ea"/>
          <a:cs typeface="+mn-cs"/>
        </a:defRPr>
      </a:lvl5pPr>
      <a:lvl6pPr marL="3311046"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6pPr>
      <a:lvl7pPr marL="3913056"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7pPr>
      <a:lvl8pPr marL="4515065"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8pPr>
      <a:lvl9pPr marL="5117072" indent="-301006" algn="l" defTabSz="1204016" rtl="0" eaLnBrk="1" latinLnBrk="0" hangingPunct="1">
        <a:lnSpc>
          <a:spcPct val="90000"/>
        </a:lnSpc>
        <a:spcBef>
          <a:spcPts val="659"/>
        </a:spcBef>
        <a:buFont typeface="Arial" panose="020B0604020202020204" pitchFamily="34" charset="0"/>
        <a:buChar char="•"/>
        <a:defRPr sz="2371" kern="1200">
          <a:solidFill>
            <a:schemeClr val="tx1"/>
          </a:solidFill>
          <a:latin typeface="+mn-lt"/>
          <a:ea typeface="+mn-ea"/>
          <a:cs typeface="+mn-cs"/>
        </a:defRPr>
      </a:lvl9pPr>
    </p:bodyStyle>
    <p:otherStyle>
      <a:defPPr>
        <a:defRPr lang="en-US"/>
      </a:defPPr>
      <a:lvl1pPr marL="0" algn="l" defTabSz="1204016" rtl="0" eaLnBrk="1" latinLnBrk="0" hangingPunct="1">
        <a:defRPr sz="2371" kern="1200">
          <a:solidFill>
            <a:schemeClr val="tx1"/>
          </a:solidFill>
          <a:latin typeface="+mn-lt"/>
          <a:ea typeface="+mn-ea"/>
          <a:cs typeface="+mn-cs"/>
        </a:defRPr>
      </a:lvl1pPr>
      <a:lvl2pPr marL="602009" algn="l" defTabSz="1204016" rtl="0" eaLnBrk="1" latinLnBrk="0" hangingPunct="1">
        <a:defRPr sz="2371" kern="1200">
          <a:solidFill>
            <a:schemeClr val="tx1"/>
          </a:solidFill>
          <a:latin typeface="+mn-lt"/>
          <a:ea typeface="+mn-ea"/>
          <a:cs typeface="+mn-cs"/>
        </a:defRPr>
      </a:lvl2pPr>
      <a:lvl3pPr marL="1204016" algn="l" defTabSz="1204016" rtl="0" eaLnBrk="1" latinLnBrk="0" hangingPunct="1">
        <a:defRPr sz="2371" kern="1200">
          <a:solidFill>
            <a:schemeClr val="tx1"/>
          </a:solidFill>
          <a:latin typeface="+mn-lt"/>
          <a:ea typeface="+mn-ea"/>
          <a:cs typeface="+mn-cs"/>
        </a:defRPr>
      </a:lvl3pPr>
      <a:lvl4pPr marL="1806026" algn="l" defTabSz="1204016" rtl="0" eaLnBrk="1" latinLnBrk="0" hangingPunct="1">
        <a:defRPr sz="2371" kern="1200">
          <a:solidFill>
            <a:schemeClr val="tx1"/>
          </a:solidFill>
          <a:latin typeface="+mn-lt"/>
          <a:ea typeface="+mn-ea"/>
          <a:cs typeface="+mn-cs"/>
        </a:defRPr>
      </a:lvl4pPr>
      <a:lvl5pPr marL="2408033" algn="l" defTabSz="1204016" rtl="0" eaLnBrk="1" latinLnBrk="0" hangingPunct="1">
        <a:defRPr sz="2371" kern="1200">
          <a:solidFill>
            <a:schemeClr val="tx1"/>
          </a:solidFill>
          <a:latin typeface="+mn-lt"/>
          <a:ea typeface="+mn-ea"/>
          <a:cs typeface="+mn-cs"/>
        </a:defRPr>
      </a:lvl5pPr>
      <a:lvl6pPr marL="3010042" algn="l" defTabSz="1204016" rtl="0" eaLnBrk="1" latinLnBrk="0" hangingPunct="1">
        <a:defRPr sz="2371" kern="1200">
          <a:solidFill>
            <a:schemeClr val="tx1"/>
          </a:solidFill>
          <a:latin typeface="+mn-lt"/>
          <a:ea typeface="+mn-ea"/>
          <a:cs typeface="+mn-cs"/>
        </a:defRPr>
      </a:lvl6pPr>
      <a:lvl7pPr marL="3612050" algn="l" defTabSz="1204016" rtl="0" eaLnBrk="1" latinLnBrk="0" hangingPunct="1">
        <a:defRPr sz="2371" kern="1200">
          <a:solidFill>
            <a:schemeClr val="tx1"/>
          </a:solidFill>
          <a:latin typeface="+mn-lt"/>
          <a:ea typeface="+mn-ea"/>
          <a:cs typeface="+mn-cs"/>
        </a:defRPr>
      </a:lvl7pPr>
      <a:lvl8pPr marL="4214059" algn="l" defTabSz="1204016" rtl="0" eaLnBrk="1" latinLnBrk="0" hangingPunct="1">
        <a:defRPr sz="2371" kern="1200">
          <a:solidFill>
            <a:schemeClr val="tx1"/>
          </a:solidFill>
          <a:latin typeface="+mn-lt"/>
          <a:ea typeface="+mn-ea"/>
          <a:cs typeface="+mn-cs"/>
        </a:defRPr>
      </a:lvl8pPr>
      <a:lvl9pPr marL="4816068" algn="l" defTabSz="1204016" rtl="0" eaLnBrk="1" latinLnBrk="0" hangingPunct="1">
        <a:defRPr sz="23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9">
          <p15:clr>
            <a:srgbClr val="F26B43"/>
          </p15:clr>
        </p15:guide>
        <p15:guide id="2" pos="2144">
          <p15:clr>
            <a:srgbClr val="F26B43"/>
          </p15:clr>
        </p15:guide>
        <p15:guide id="3" orient="horz" pos="332">
          <p15:clr>
            <a:srgbClr val="F26B43"/>
          </p15:clr>
        </p15:guide>
        <p15:guide id="4" orient="horz" pos="5202">
          <p15:clr>
            <a:srgbClr val="F26B43"/>
          </p15:clr>
        </p15:guide>
        <p15:guide id="5" orient="horz" pos="1183">
          <p15:clr>
            <a:srgbClr val="F26B43"/>
          </p15:clr>
        </p15:guide>
        <p15:guide id="6" orient="horz" pos="1385">
          <p15:clr>
            <a:srgbClr val="F26B43"/>
          </p15:clr>
        </p15:guide>
        <p15:guide id="7" orient="horz" pos="2236">
          <p15:clr>
            <a:srgbClr val="F26B43"/>
          </p15:clr>
        </p15:guide>
        <p15:guide id="8" orient="horz" pos="2431">
          <p15:clr>
            <a:srgbClr val="F26B43"/>
          </p15:clr>
        </p15:guide>
        <p15:guide id="9" orient="horz" pos="3472">
          <p15:clr>
            <a:srgbClr val="F26B43"/>
          </p15:clr>
        </p15:guide>
        <p15:guide id="10" orient="horz" pos="4332">
          <p15:clr>
            <a:srgbClr val="F26B43"/>
          </p15:clr>
        </p15:guide>
        <p15:guide id="11" orient="horz" pos="4526">
          <p15:clr>
            <a:srgbClr val="F26B43"/>
          </p15:clr>
        </p15:guide>
        <p15:guide id="12" pos="3856">
          <p15:clr>
            <a:srgbClr val="F26B43"/>
          </p15:clr>
        </p15:guide>
        <p15:guide id="13" pos="287">
          <p15:clr>
            <a:srgbClr val="F26B43"/>
          </p15:clr>
        </p15:guide>
        <p15:guide id="14" pos="774">
          <p15:clr>
            <a:srgbClr val="F26B43"/>
          </p15:clr>
        </p15:guide>
        <p15:guide id="15" pos="853">
          <p15:clr>
            <a:srgbClr val="F26B43"/>
          </p15:clr>
        </p15:guide>
        <p15:guide id="16" pos="1416">
          <p15:clr>
            <a:srgbClr val="F26B43"/>
          </p15:clr>
        </p15:guide>
        <p15:guide id="17" pos="1498">
          <p15:clr>
            <a:srgbClr val="F26B43"/>
          </p15:clr>
        </p15:guide>
        <p15:guide id="18" pos="2063">
          <p15:clr>
            <a:srgbClr val="F26B43"/>
          </p15:clr>
        </p15:guide>
        <p15:guide id="19" pos="2708">
          <p15:clr>
            <a:srgbClr val="F26B43"/>
          </p15:clr>
        </p15:guide>
        <p15:guide id="20" pos="2787">
          <p15:clr>
            <a:srgbClr val="F26B43"/>
          </p15:clr>
        </p15:guide>
        <p15:guide id="21" pos="3355">
          <p15:clr>
            <a:srgbClr val="F26B43"/>
          </p15:clr>
        </p15:guide>
        <p15:guide id="22" pos="343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1.png"/><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4.bin"/><Relationship Id="rId7" Type="http://schemas.openxmlformats.org/officeDocument/2006/relationships/image" Target="../media/image15.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18.png"/><Relationship Id="rId5" Type="http://schemas.openxmlformats.org/officeDocument/2006/relationships/hyperlink" Target="https://www.novartisfoundation.org/transforming-population-health/cardio4cities" TargetMode="External"/><Relationship Id="rId4" Type="http://schemas.openxmlformats.org/officeDocument/2006/relationships/image" Target="../media/image1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hyperlink" Target="https://www.intrahealth.org/countries/senegal" TargetMode="Externa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hyperlink" Target="https://www.novartisfoundation.org/" TargetMode="External"/><Relationship Id="rId5" Type="http://schemas.openxmlformats.org/officeDocument/2006/relationships/hyperlink" Target="http://www.formation.sante.gouv.sn/" TargetMode="External"/><Relationship Id="rId4" Type="http://schemas.openxmlformats.org/officeDocument/2006/relationships/image" Target="../media/image17.emf"/></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20.png"/><Relationship Id="rId7" Type="http://schemas.openxmlformats.org/officeDocument/2006/relationships/image" Target="../media/image4.png"/><Relationship Id="rId2"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471DCBC-0786-AC60-138B-E8EAB964B361}"/>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A471DCBC-0786-AC60-138B-E8EAB964B361}"/>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66A7727-E360-03ED-2FC9-C370586CDE25}"/>
              </a:ext>
            </a:extLst>
          </p:cNvPr>
          <p:cNvSpPr>
            <a:spLocks noGrp="1"/>
          </p:cNvSpPr>
          <p:nvPr>
            <p:ph type="ctrTitle"/>
          </p:nvPr>
        </p:nvSpPr>
        <p:spPr>
          <a:xfrm>
            <a:off x="552450" y="6060777"/>
            <a:ext cx="5472113" cy="1632545"/>
          </a:xfrm>
        </p:spPr>
        <p:txBody>
          <a:bodyPr vert="horz"/>
          <a:lstStyle/>
          <a:p>
            <a:pPr>
              <a:lnSpc>
                <a:spcPct val="100000"/>
              </a:lnSpc>
            </a:pPr>
            <a:r>
              <a:rPr lang="fr-FR" sz="2800" spc="0" dirty="0">
                <a:solidFill>
                  <a:schemeClr val="accent3"/>
                </a:solidFill>
              </a:rPr>
              <a:t>Boîte à outils pour la réplication de l’approche CARDIO dans </a:t>
            </a:r>
            <a:br>
              <a:rPr lang="hr-HR" sz="2800" spc="0" dirty="0">
                <a:solidFill>
                  <a:schemeClr val="accent3"/>
                </a:solidFill>
              </a:rPr>
            </a:br>
            <a:r>
              <a:rPr lang="fr-FR" sz="2800" spc="0" dirty="0">
                <a:solidFill>
                  <a:schemeClr val="accent3"/>
                </a:solidFill>
              </a:rPr>
              <a:t>la lutte contre l’hypertension artérielle et les autres facteurs de risque</a:t>
            </a:r>
          </a:p>
        </p:txBody>
      </p:sp>
      <p:grpSp>
        <p:nvGrpSpPr>
          <p:cNvPr id="10" name="Group 9">
            <a:extLst>
              <a:ext uri="{FF2B5EF4-FFF2-40B4-BE49-F238E27FC236}">
                <a16:creationId xmlns:a16="http://schemas.microsoft.com/office/drawing/2014/main" id="{C97941EA-D4AD-8F16-79D0-4C16516D751E}"/>
              </a:ext>
            </a:extLst>
          </p:cNvPr>
          <p:cNvGrpSpPr/>
          <p:nvPr/>
        </p:nvGrpSpPr>
        <p:grpSpPr>
          <a:xfrm>
            <a:off x="1315916" y="-15240"/>
            <a:ext cx="5294347" cy="5347323"/>
            <a:chOff x="719932" y="-15240"/>
            <a:chExt cx="5857082" cy="5915689"/>
          </a:xfrm>
        </p:grpSpPr>
        <p:sp>
          <p:nvSpPr>
            <p:cNvPr id="57" name="Free-form: Shape 56">
              <a:extLst>
                <a:ext uri="{FF2B5EF4-FFF2-40B4-BE49-F238E27FC236}">
                  <a16:creationId xmlns:a16="http://schemas.microsoft.com/office/drawing/2014/main" id="{19E1A084-7400-D7BF-75C6-A25BF7D2EB0A}"/>
                </a:ext>
              </a:extLst>
            </p:cNvPr>
            <p:cNvSpPr/>
            <p:nvPr/>
          </p:nvSpPr>
          <p:spPr>
            <a:xfrm>
              <a:off x="2271905" y="513462"/>
              <a:ext cx="4305109" cy="5386987"/>
            </a:xfrm>
            <a:custGeom>
              <a:avLst/>
              <a:gdLst>
                <a:gd name="connsiteX0" fmla="*/ 2482173 w 4364852"/>
                <a:gd name="connsiteY0" fmla="*/ 0 h 5461744"/>
                <a:gd name="connsiteX1" fmla="*/ 4216033 w 4364852"/>
                <a:gd name="connsiteY1" fmla="*/ 623592 h 5461744"/>
                <a:gd name="connsiteX2" fmla="*/ 4364852 w 4364852"/>
                <a:gd name="connsiteY2" fmla="*/ 759100 h 5461744"/>
                <a:gd name="connsiteX3" fmla="*/ 4364852 w 4364852"/>
                <a:gd name="connsiteY3" fmla="*/ 4702146 h 5461744"/>
                <a:gd name="connsiteX4" fmla="*/ 4225804 w 4364852"/>
                <a:gd name="connsiteY4" fmla="*/ 4829858 h 5461744"/>
                <a:gd name="connsiteX5" fmla="*/ 2506591 w 4364852"/>
                <a:gd name="connsiteY5" fmla="*/ 5461365 h 5461744"/>
                <a:gd name="connsiteX6" fmla="*/ 2482173 w 4364852"/>
                <a:gd name="connsiteY6" fmla="*/ 5461365 h 5461744"/>
                <a:gd name="connsiteX7" fmla="*/ 2482173 w 4364852"/>
                <a:gd name="connsiteY7" fmla="*/ 5461744 h 5461744"/>
                <a:gd name="connsiteX8" fmla="*/ 2027875 w 4364852"/>
                <a:gd name="connsiteY8" fmla="*/ 5339803 h 5461744"/>
                <a:gd name="connsiteX9" fmla="*/ 1695291 w 4364852"/>
                <a:gd name="connsiteY9" fmla="*/ 4096308 h 5461744"/>
                <a:gd name="connsiteX10" fmla="*/ 1817383 w 4364852"/>
                <a:gd name="connsiteY10" fmla="*/ 3640783 h 5461744"/>
                <a:gd name="connsiteX11" fmla="*/ 909166 w 4364852"/>
                <a:gd name="connsiteY11" fmla="*/ 2730303 h 5461744"/>
                <a:gd name="connsiteX12" fmla="*/ 454490 w 4364852"/>
                <a:gd name="connsiteY12" fmla="*/ 2608552 h 5461744"/>
                <a:gd name="connsiteX13" fmla="*/ 121149 w 4364852"/>
                <a:gd name="connsiteY13" fmla="*/ 1366384 h 5461744"/>
                <a:gd name="connsiteX14" fmla="*/ 2482173 w 4364852"/>
                <a:gd name="connsiteY14" fmla="*/ 0 h 546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64852" h="5461744">
                  <a:moveTo>
                    <a:pt x="2482173" y="0"/>
                  </a:moveTo>
                  <a:cubicBezTo>
                    <a:pt x="3140798" y="0"/>
                    <a:pt x="3744858" y="234020"/>
                    <a:pt x="4216033" y="623592"/>
                  </a:cubicBezTo>
                  <a:lnTo>
                    <a:pt x="4364852" y="759100"/>
                  </a:lnTo>
                  <a:lnTo>
                    <a:pt x="4364852" y="4702146"/>
                  </a:lnTo>
                  <a:lnTo>
                    <a:pt x="4225804" y="4829858"/>
                  </a:lnTo>
                  <a:cubicBezTo>
                    <a:pt x="3759013" y="5219416"/>
                    <a:pt x="3160247" y="5455640"/>
                    <a:pt x="2506591" y="5461365"/>
                  </a:cubicBezTo>
                  <a:lnTo>
                    <a:pt x="2482173" y="5461365"/>
                  </a:lnTo>
                  <a:lnTo>
                    <a:pt x="2482173" y="5461744"/>
                  </a:lnTo>
                  <a:cubicBezTo>
                    <a:pt x="2327711" y="5461744"/>
                    <a:pt x="2171168" y="5422867"/>
                    <a:pt x="2027875" y="5339803"/>
                  </a:cubicBezTo>
                  <a:cubicBezTo>
                    <a:pt x="1593263" y="5088525"/>
                    <a:pt x="1444481" y="4531731"/>
                    <a:pt x="1695291" y="4096308"/>
                  </a:cubicBezTo>
                  <a:cubicBezTo>
                    <a:pt x="1772711" y="3962230"/>
                    <a:pt x="1817383" y="3806722"/>
                    <a:pt x="1817383" y="3640783"/>
                  </a:cubicBezTo>
                  <a:cubicBezTo>
                    <a:pt x="1817383" y="3138037"/>
                    <a:pt x="1410976" y="2730303"/>
                    <a:pt x="909166" y="2730303"/>
                  </a:cubicBezTo>
                  <a:cubicBezTo>
                    <a:pt x="754705" y="2730493"/>
                    <a:pt x="597973" y="2691426"/>
                    <a:pt x="454490" y="2608552"/>
                  </a:cubicBezTo>
                  <a:cubicBezTo>
                    <a:pt x="20257" y="2357463"/>
                    <a:pt x="-128715" y="1801617"/>
                    <a:pt x="121149" y="1366384"/>
                  </a:cubicBezTo>
                  <a:cubicBezTo>
                    <a:pt x="592294" y="549778"/>
                    <a:pt x="1473064" y="0"/>
                    <a:pt x="2482173" y="0"/>
                  </a:cubicBezTo>
                  <a:close/>
                </a:path>
              </a:pathLst>
            </a:custGeom>
            <a:gradFill>
              <a:gsLst>
                <a:gs pos="0">
                  <a:schemeClr val="bg2"/>
                </a:gs>
                <a:gs pos="76000">
                  <a:srgbClr val="FF585D"/>
                </a:gs>
              </a:gsLst>
              <a:lin ang="135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8" name="Free-form: Shape 57">
              <a:extLst>
                <a:ext uri="{FF2B5EF4-FFF2-40B4-BE49-F238E27FC236}">
                  <a16:creationId xmlns:a16="http://schemas.microsoft.com/office/drawing/2014/main" id="{6AA527B5-1FA2-BFFB-ECBE-376D07C92AB6}"/>
                </a:ext>
              </a:extLst>
            </p:cNvPr>
            <p:cNvSpPr/>
            <p:nvPr/>
          </p:nvSpPr>
          <p:spPr>
            <a:xfrm>
              <a:off x="719932" y="-15240"/>
              <a:ext cx="4896706" cy="4119780"/>
            </a:xfrm>
            <a:custGeom>
              <a:avLst/>
              <a:gdLst>
                <a:gd name="connsiteX0" fmla="*/ 1748335 w 4964659"/>
                <a:gd name="connsiteY0" fmla="*/ 0 h 4176952"/>
                <a:gd name="connsiteX1" fmla="*/ 4964659 w 4964659"/>
                <a:gd name="connsiteY1" fmla="*/ 0 h 4176952"/>
                <a:gd name="connsiteX2" fmla="*/ 4964659 w 4964659"/>
                <a:gd name="connsiteY2" fmla="*/ 3266532 h 4176952"/>
                <a:gd name="connsiteX3" fmla="*/ 4964470 w 4964659"/>
                <a:gd name="connsiteY3" fmla="*/ 3266532 h 4176952"/>
                <a:gd name="connsiteX4" fmla="*/ 4510361 w 4964659"/>
                <a:gd name="connsiteY4" fmla="*/ 4054881 h 4176952"/>
                <a:gd name="connsiteX5" fmla="*/ 3269182 w 4964659"/>
                <a:gd name="connsiteY5" fmla="*/ 3721677 h 4176952"/>
                <a:gd name="connsiteX6" fmla="*/ 3266911 w 4964659"/>
                <a:gd name="connsiteY6" fmla="*/ 3717315 h 4176952"/>
                <a:gd name="connsiteX7" fmla="*/ 2028192 w 4964659"/>
                <a:gd name="connsiteY7" fmla="*/ 3388283 h 4176952"/>
                <a:gd name="connsiteX8" fmla="*/ 1697123 w 4964659"/>
                <a:gd name="connsiteY8" fmla="*/ 3718832 h 4176952"/>
                <a:gd name="connsiteX9" fmla="*/ 1695608 w 4964659"/>
                <a:gd name="connsiteY9" fmla="*/ 3721487 h 4176952"/>
                <a:gd name="connsiteX10" fmla="*/ 454429 w 4964659"/>
                <a:gd name="connsiteY10" fmla="*/ 4054691 h 4176952"/>
                <a:gd name="connsiteX11" fmla="*/ 121845 w 4964659"/>
                <a:gd name="connsiteY11" fmla="*/ 2811197 h 4176952"/>
                <a:gd name="connsiteX12" fmla="*/ 908727 w 4964659"/>
                <a:gd name="connsiteY12" fmla="*/ 2356241 h 4176952"/>
                <a:gd name="connsiteX13" fmla="*/ 913270 w 4964659"/>
                <a:gd name="connsiteY13" fmla="*/ 2356241 h 4176952"/>
                <a:gd name="connsiteX14" fmla="*/ 1816944 w 4964659"/>
                <a:gd name="connsiteY14" fmla="*/ 1446140 h 4176952"/>
                <a:gd name="connsiteX15" fmla="*/ 1695419 w 4964659"/>
                <a:gd name="connsiteY15" fmla="*/ 990995 h 4176952"/>
                <a:gd name="connsiteX16" fmla="*/ 1707765 w 4964659"/>
                <a:gd name="connsiteY16" fmla="*/ 59636 h 4176952"/>
                <a:gd name="connsiteX17" fmla="*/ 1748335 w 4964659"/>
                <a:gd name="connsiteY17" fmla="*/ 0 h 417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64659" h="4176952">
                  <a:moveTo>
                    <a:pt x="1748335" y="0"/>
                  </a:moveTo>
                  <a:lnTo>
                    <a:pt x="4964659" y="0"/>
                  </a:lnTo>
                  <a:lnTo>
                    <a:pt x="4964659" y="3266532"/>
                  </a:lnTo>
                  <a:cubicBezTo>
                    <a:pt x="4964659" y="3266532"/>
                    <a:pt x="4964470" y="3266532"/>
                    <a:pt x="4964470" y="3266532"/>
                  </a:cubicBezTo>
                  <a:cubicBezTo>
                    <a:pt x="4964280" y="3580772"/>
                    <a:pt x="4801491" y="3886477"/>
                    <a:pt x="4510361" y="4054881"/>
                  </a:cubicBezTo>
                  <a:cubicBezTo>
                    <a:pt x="4075750" y="4306159"/>
                    <a:pt x="3520182" y="4157099"/>
                    <a:pt x="3269182" y="3721677"/>
                  </a:cubicBezTo>
                  <a:cubicBezTo>
                    <a:pt x="3268425" y="3720160"/>
                    <a:pt x="3267668" y="3718832"/>
                    <a:pt x="3266911" y="3717315"/>
                  </a:cubicBezTo>
                  <a:cubicBezTo>
                    <a:pt x="3014965" y="3285117"/>
                    <a:pt x="2461479" y="3137574"/>
                    <a:pt x="2028192" y="3388283"/>
                  </a:cubicBezTo>
                  <a:cubicBezTo>
                    <a:pt x="1885845" y="3470588"/>
                    <a:pt x="1774164" y="3585892"/>
                    <a:pt x="1697123" y="3718832"/>
                  </a:cubicBezTo>
                  <a:cubicBezTo>
                    <a:pt x="1696555" y="3719780"/>
                    <a:pt x="1696176" y="3720729"/>
                    <a:pt x="1695608" y="3721487"/>
                  </a:cubicBezTo>
                  <a:cubicBezTo>
                    <a:pt x="1444798" y="4156910"/>
                    <a:pt x="889040" y="4305970"/>
                    <a:pt x="454429" y="4054691"/>
                  </a:cubicBezTo>
                  <a:cubicBezTo>
                    <a:pt x="19817" y="3803413"/>
                    <a:pt x="-128965" y="3246619"/>
                    <a:pt x="121845" y="2811197"/>
                  </a:cubicBezTo>
                  <a:cubicBezTo>
                    <a:pt x="289935" y="2519524"/>
                    <a:pt x="594883" y="2356430"/>
                    <a:pt x="908727" y="2356241"/>
                  </a:cubicBezTo>
                  <a:lnTo>
                    <a:pt x="913270" y="2356241"/>
                  </a:lnTo>
                  <a:cubicBezTo>
                    <a:pt x="1412808" y="2353586"/>
                    <a:pt x="1816944" y="1947179"/>
                    <a:pt x="1816944" y="1446140"/>
                  </a:cubicBezTo>
                  <a:cubicBezTo>
                    <a:pt x="1816944" y="1280391"/>
                    <a:pt x="1772650" y="1124883"/>
                    <a:pt x="1695419" y="990995"/>
                  </a:cubicBezTo>
                  <a:cubicBezTo>
                    <a:pt x="1522987" y="691642"/>
                    <a:pt x="1539425" y="335011"/>
                    <a:pt x="1707765" y="59636"/>
                  </a:cubicBezTo>
                  <a:lnTo>
                    <a:pt x="1748335"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9" name="Free-form: Shape 58">
              <a:extLst>
                <a:ext uri="{FF2B5EF4-FFF2-40B4-BE49-F238E27FC236}">
                  <a16:creationId xmlns:a16="http://schemas.microsoft.com/office/drawing/2014/main" id="{D7106B35-F6B8-3995-8DDE-7A25B08E8217}"/>
                </a:ext>
              </a:extLst>
            </p:cNvPr>
            <p:cNvSpPr/>
            <p:nvPr/>
          </p:nvSpPr>
          <p:spPr>
            <a:xfrm>
              <a:off x="2277883" y="519999"/>
              <a:ext cx="3344730" cy="3591078"/>
            </a:xfrm>
            <a:custGeom>
              <a:avLst/>
              <a:gdLst>
                <a:gd name="connsiteX0" fmla="*/ 2937038 w 3391146"/>
                <a:gd name="connsiteY0" fmla="*/ 3518653 h 3640913"/>
                <a:gd name="connsiteX1" fmla="*/ 3391146 w 3391146"/>
                <a:gd name="connsiteY1" fmla="*/ 2730303 h 3640913"/>
                <a:gd name="connsiteX2" fmla="*/ 3391146 w 3391146"/>
                <a:gd name="connsiteY2" fmla="*/ 2730303 h 3640913"/>
                <a:gd name="connsiteX3" fmla="*/ 3391146 w 3391146"/>
                <a:gd name="connsiteY3" fmla="*/ 155698 h 3640913"/>
                <a:gd name="connsiteX4" fmla="*/ 2482173 w 3391146"/>
                <a:gd name="connsiteY4" fmla="*/ 0 h 3640913"/>
                <a:gd name="connsiteX5" fmla="*/ 121149 w 3391146"/>
                <a:gd name="connsiteY5" fmla="*/ 1366384 h 3640913"/>
                <a:gd name="connsiteX6" fmla="*/ 454490 w 3391146"/>
                <a:gd name="connsiteY6" fmla="*/ 2608552 h 3640913"/>
                <a:gd name="connsiteX7" fmla="*/ 909166 w 3391146"/>
                <a:gd name="connsiteY7" fmla="*/ 2730303 h 3640913"/>
                <a:gd name="connsiteX8" fmla="*/ 1691884 w 3391146"/>
                <a:gd name="connsiteY8" fmla="*/ 3179001 h 3640913"/>
                <a:gd name="connsiteX9" fmla="*/ 1693209 w 3391146"/>
                <a:gd name="connsiteY9" fmla="*/ 3181276 h 3640913"/>
                <a:gd name="connsiteX10" fmla="*/ 1695480 w 3391146"/>
                <a:gd name="connsiteY10" fmla="*/ 3185638 h 3640913"/>
                <a:gd name="connsiteX11" fmla="*/ 2936659 w 3391146"/>
                <a:gd name="connsiteY11" fmla="*/ 3518842 h 3640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91146" h="3640913">
                  <a:moveTo>
                    <a:pt x="2937038" y="3518653"/>
                  </a:moveTo>
                  <a:cubicBezTo>
                    <a:pt x="3228357" y="3350249"/>
                    <a:pt x="3390957" y="3044543"/>
                    <a:pt x="3391146" y="2730303"/>
                  </a:cubicBezTo>
                  <a:lnTo>
                    <a:pt x="3391146" y="2730303"/>
                  </a:lnTo>
                  <a:cubicBezTo>
                    <a:pt x="3391146" y="2730303"/>
                    <a:pt x="3391146" y="155698"/>
                    <a:pt x="3391146" y="155698"/>
                  </a:cubicBezTo>
                  <a:cubicBezTo>
                    <a:pt x="3106832" y="54997"/>
                    <a:pt x="2800938" y="0"/>
                    <a:pt x="2482173" y="0"/>
                  </a:cubicBezTo>
                  <a:cubicBezTo>
                    <a:pt x="1473064" y="0"/>
                    <a:pt x="592294" y="549778"/>
                    <a:pt x="121149" y="1366384"/>
                  </a:cubicBezTo>
                  <a:cubicBezTo>
                    <a:pt x="-128715" y="1801617"/>
                    <a:pt x="20257" y="2357463"/>
                    <a:pt x="454490" y="2608552"/>
                  </a:cubicBezTo>
                  <a:cubicBezTo>
                    <a:pt x="597973" y="2691616"/>
                    <a:pt x="754705" y="2730682"/>
                    <a:pt x="909166" y="2730303"/>
                  </a:cubicBezTo>
                  <a:cubicBezTo>
                    <a:pt x="1242697" y="2730303"/>
                    <a:pt x="1534015" y="2910465"/>
                    <a:pt x="1691884" y="3179001"/>
                  </a:cubicBezTo>
                  <a:cubicBezTo>
                    <a:pt x="1692262" y="3179759"/>
                    <a:pt x="1692830" y="3180517"/>
                    <a:pt x="1693209" y="3181276"/>
                  </a:cubicBezTo>
                  <a:cubicBezTo>
                    <a:pt x="1693966" y="3182794"/>
                    <a:pt x="1694723" y="3184121"/>
                    <a:pt x="1695480" y="3185638"/>
                  </a:cubicBezTo>
                  <a:cubicBezTo>
                    <a:pt x="1946290" y="3621060"/>
                    <a:pt x="2502048" y="3770120"/>
                    <a:pt x="2936659" y="3518842"/>
                  </a:cubicBezTo>
                  <a:close/>
                </a:path>
              </a:pathLst>
            </a:custGeom>
            <a:blipFill dpi="0" rotWithShape="1">
              <a:blip r:embed="rId5"/>
              <a:srcRect/>
              <a:stretch>
                <a:fillRect l="-95253" t="-469" r="-32583" b="-821"/>
              </a:stretch>
            </a:blipFill>
            <a:ln w="0" cap="flat">
              <a:noFill/>
              <a:prstDash val="solid"/>
              <a:miter/>
            </a:ln>
          </p:spPr>
          <p:txBody>
            <a:bodyPr rtlCol="0" anchor="ctr"/>
            <a:lstStyle/>
            <a:p>
              <a:endParaRPr lang="en-US"/>
            </a:p>
          </p:txBody>
        </p:sp>
      </p:grpSp>
      <p:sp>
        <p:nvSpPr>
          <p:cNvPr id="3" name="Title 5">
            <a:extLst>
              <a:ext uri="{FF2B5EF4-FFF2-40B4-BE49-F238E27FC236}">
                <a16:creationId xmlns:a16="http://schemas.microsoft.com/office/drawing/2014/main" id="{B6206CDF-3B13-818C-6D11-6DBA397CE2EB}"/>
              </a:ext>
            </a:extLst>
          </p:cNvPr>
          <p:cNvSpPr txBox="1">
            <a:spLocks/>
          </p:cNvSpPr>
          <p:nvPr/>
        </p:nvSpPr>
        <p:spPr>
          <a:xfrm>
            <a:off x="555403" y="5192771"/>
            <a:ext cx="2733104" cy="313189"/>
          </a:xfrm>
          <a:prstGeom prst="rect">
            <a:avLst/>
          </a:prstGeom>
        </p:spPr>
        <p:txBody>
          <a:bodyPr vert="horz" lIns="0" tIns="0" rIns="0" bIns="0" rtlCol="0" anchor="b" anchorCtr="0">
            <a:noAutofit/>
          </a:bodyPr>
          <a:lstStyle>
            <a:lvl1pPr algn="l" defTabSz="1204016" rtl="0" eaLnBrk="1" latinLnBrk="0" hangingPunct="1">
              <a:lnSpc>
                <a:spcPct val="90000"/>
              </a:lnSpc>
              <a:spcBef>
                <a:spcPct val="0"/>
              </a:spcBef>
              <a:buNone/>
              <a:defRPr sz="5267" b="1" kern="1200" spc="-132" baseline="0">
                <a:solidFill>
                  <a:srgbClr val="002068"/>
                </a:solidFill>
                <a:latin typeface="+mj-lt"/>
                <a:ea typeface="+mj-ea"/>
                <a:cs typeface="+mj-cs"/>
              </a:defRPr>
            </a:lvl1pPr>
          </a:lstStyle>
          <a:p>
            <a:pPr>
              <a:lnSpc>
                <a:spcPct val="100000"/>
              </a:lnSpc>
            </a:pPr>
            <a:r>
              <a:rPr lang="fr-FR" sz="1800" b="0" spc="0" dirty="0">
                <a:solidFill>
                  <a:schemeClr val="accent2"/>
                </a:solidFill>
              </a:rPr>
              <a:t>Juin 2024</a:t>
            </a:r>
            <a:endParaRPr lang="en-GB" sz="1800" b="0" spc="0" dirty="0">
              <a:solidFill>
                <a:schemeClr val="accent2"/>
              </a:solidFill>
            </a:endParaRPr>
          </a:p>
        </p:txBody>
      </p:sp>
      <p:sp>
        <p:nvSpPr>
          <p:cNvPr id="14" name="Title 5">
            <a:extLst>
              <a:ext uri="{FF2B5EF4-FFF2-40B4-BE49-F238E27FC236}">
                <a16:creationId xmlns:a16="http://schemas.microsoft.com/office/drawing/2014/main" id="{F6E356DA-BEF4-D381-CBC5-E88DB7A3D696}"/>
              </a:ext>
            </a:extLst>
          </p:cNvPr>
          <p:cNvSpPr txBox="1">
            <a:spLocks/>
          </p:cNvSpPr>
          <p:nvPr/>
        </p:nvSpPr>
        <p:spPr>
          <a:xfrm>
            <a:off x="552451" y="7948069"/>
            <a:ext cx="3746500" cy="407835"/>
          </a:xfrm>
          <a:prstGeom prst="rect">
            <a:avLst/>
          </a:prstGeom>
        </p:spPr>
        <p:txBody>
          <a:bodyPr vert="horz" lIns="0" tIns="0" rIns="0" bIns="0" rtlCol="0" anchor="b" anchorCtr="0">
            <a:noAutofit/>
          </a:bodyPr>
          <a:lstStyle>
            <a:lvl1pPr algn="l" defTabSz="1204016" rtl="0" eaLnBrk="1" latinLnBrk="0" hangingPunct="1">
              <a:lnSpc>
                <a:spcPct val="90000"/>
              </a:lnSpc>
              <a:spcBef>
                <a:spcPct val="0"/>
              </a:spcBef>
              <a:buNone/>
              <a:defRPr sz="5267" b="1" kern="1200" spc="-132" baseline="0">
                <a:solidFill>
                  <a:srgbClr val="002068"/>
                </a:solidFill>
                <a:latin typeface="+mj-lt"/>
                <a:ea typeface="+mj-ea"/>
                <a:cs typeface="+mj-cs"/>
              </a:defRPr>
            </a:lvl1pPr>
          </a:lstStyle>
          <a:p>
            <a:pPr>
              <a:lnSpc>
                <a:spcPct val="100000"/>
              </a:lnSpc>
            </a:pPr>
            <a:r>
              <a:rPr lang="fr-FR" sz="3600" dirty="0">
                <a:solidFill>
                  <a:schemeClr val="accent2"/>
                </a:solidFill>
              </a:rPr>
              <a:t>CARDIO4Dakar</a:t>
            </a:r>
            <a:endParaRPr lang="en-GB" sz="3200" dirty="0">
              <a:solidFill>
                <a:schemeClr val="accent2"/>
              </a:solidFill>
            </a:endParaRPr>
          </a:p>
        </p:txBody>
      </p:sp>
      <p:sp>
        <p:nvSpPr>
          <p:cNvPr id="19" name="Rectangle 18">
            <a:extLst>
              <a:ext uri="{FF2B5EF4-FFF2-40B4-BE49-F238E27FC236}">
                <a16:creationId xmlns:a16="http://schemas.microsoft.com/office/drawing/2014/main" id="{60A36C54-8D61-1029-2D0C-3C3C84B110BB}"/>
              </a:ext>
            </a:extLst>
          </p:cNvPr>
          <p:cNvSpPr/>
          <p:nvPr/>
        </p:nvSpPr>
        <p:spPr>
          <a:xfrm>
            <a:off x="0" y="8648700"/>
            <a:ext cx="6577013" cy="711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A8E232E9-B34C-F82C-5581-EEF808BEFECB}"/>
              </a:ext>
            </a:extLst>
          </p:cNvPr>
          <p:cNvCxnSpPr>
            <a:cxnSpLocks/>
          </p:cNvCxnSpPr>
          <p:nvPr/>
        </p:nvCxnSpPr>
        <p:spPr>
          <a:xfrm>
            <a:off x="317500" y="0"/>
            <a:ext cx="0" cy="9359900"/>
          </a:xfrm>
          <a:prstGeom prst="line">
            <a:avLst/>
          </a:prstGeom>
          <a:ln w="12700">
            <a:solidFill>
              <a:schemeClr val="accent5">
                <a:alpha val="2000"/>
              </a:schemeClr>
            </a:solidFill>
          </a:ln>
          <a:effectLst>
            <a:glow rad="38100">
              <a:schemeClr val="tx2">
                <a:alpha val="15000"/>
              </a:schemeClr>
            </a:glow>
            <a:outerShdw blurRad="63500" dist="38100" sx="102000" sy="102000" algn="ctr" rotWithShape="0">
              <a:schemeClr val="tx1"/>
            </a:outerShdw>
          </a:effectLst>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6CC7E476-AB91-6D29-3E52-A32953C3D208}"/>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88155" y="297155"/>
            <a:ext cx="573710" cy="811312"/>
          </a:xfrm>
          <a:prstGeom prst="rect">
            <a:avLst/>
          </a:prstGeom>
        </p:spPr>
      </p:pic>
      <p:pic>
        <p:nvPicPr>
          <p:cNvPr id="2" name="Picture 1">
            <a:extLst>
              <a:ext uri="{FF2B5EF4-FFF2-40B4-BE49-F238E27FC236}">
                <a16:creationId xmlns:a16="http://schemas.microsoft.com/office/drawing/2014/main" id="{D6C86BA1-C387-1DCD-FF2E-E85E15276072}"/>
              </a:ext>
            </a:extLst>
          </p:cNvPr>
          <p:cNvPicPr/>
          <p:nvPr/>
        </p:nvPicPr>
        <p:blipFill>
          <a:blip r:embed="rId7"/>
          <a:stretch>
            <a:fillRect/>
          </a:stretch>
        </p:blipFill>
        <p:spPr>
          <a:xfrm>
            <a:off x="3812989" y="8918018"/>
            <a:ext cx="2233471" cy="197695"/>
          </a:xfrm>
          <a:prstGeom prst="rect">
            <a:avLst/>
          </a:prstGeom>
          <a:noFill/>
          <a:ln>
            <a:noFill/>
            <a:prstDash/>
          </a:ln>
        </p:spPr>
      </p:pic>
      <p:pic>
        <p:nvPicPr>
          <p:cNvPr id="4" name="Picture 3">
            <a:extLst>
              <a:ext uri="{FF2B5EF4-FFF2-40B4-BE49-F238E27FC236}">
                <a16:creationId xmlns:a16="http://schemas.microsoft.com/office/drawing/2014/main" id="{0771917A-233F-C063-07EE-54D9E0F59E3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2618878" y="8853589"/>
            <a:ext cx="1018103" cy="3846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54009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E4501F8-E445-5B77-CF6A-4E1034D0BC7B}"/>
              </a:ext>
            </a:extLst>
          </p:cNvPr>
          <p:cNvGraphicFramePr>
            <a:graphicFrameLocks noChangeAspect="1"/>
          </p:cNvGraphicFramePr>
          <p:nvPr>
            <p:custDataLst>
              <p:tags r:id="rId1"/>
            </p:custDataLst>
            <p:extLst>
              <p:ext uri="{D42A27DB-BD31-4B8C-83A1-F6EECF244321}">
                <p14:modId xmlns:p14="http://schemas.microsoft.com/office/powerpoint/2010/main" val="4093455796"/>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4E4501F8-E445-5B77-CF6A-4E1034D0BC7B}"/>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176B12DF-450A-D299-FC0C-E04FEC88840E}"/>
              </a:ext>
            </a:extLst>
          </p:cNvPr>
          <p:cNvGrpSpPr/>
          <p:nvPr/>
        </p:nvGrpSpPr>
        <p:grpSpPr>
          <a:xfrm>
            <a:off x="455612" y="1432790"/>
            <a:ext cx="6121402" cy="423400"/>
            <a:chOff x="248430" y="4324590"/>
            <a:chExt cx="6715354" cy="464482"/>
          </a:xfrm>
        </p:grpSpPr>
        <p:sp>
          <p:nvSpPr>
            <p:cNvPr id="3" name="Rectangle: Top Corners Rounded 2">
              <a:extLst>
                <a:ext uri="{FF2B5EF4-FFF2-40B4-BE49-F238E27FC236}">
                  <a16:creationId xmlns:a16="http://schemas.microsoft.com/office/drawing/2014/main" id="{81E3B0E6-510A-41EC-418B-65378862C277}"/>
                </a:ext>
              </a:extLst>
            </p:cNvPr>
            <p:cNvSpPr/>
            <p:nvPr/>
          </p:nvSpPr>
          <p:spPr>
            <a:xfrm rot="16200000">
              <a:off x="3373866" y="1199154"/>
              <a:ext cx="464482" cy="6715354"/>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4" name="Text Box 2">
              <a:extLst>
                <a:ext uri="{FF2B5EF4-FFF2-40B4-BE49-F238E27FC236}">
                  <a16:creationId xmlns:a16="http://schemas.microsoft.com/office/drawing/2014/main" id="{50612A37-3CBF-0ACC-F95C-A9AC0AF8D592}"/>
                </a:ext>
              </a:extLst>
            </p:cNvPr>
            <p:cNvSpPr txBox="1"/>
            <p:nvPr userDrawn="1"/>
          </p:nvSpPr>
          <p:spPr>
            <a:xfrm>
              <a:off x="354665" y="4350715"/>
              <a:ext cx="6027087" cy="412235"/>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a:lnSpc>
                  <a:spcPct val="107000"/>
                </a:lnSpc>
                <a:spcAft>
                  <a:spcPts val="729"/>
                </a:spcAft>
              </a:pPr>
              <a:r>
                <a:rPr lang="en-GB" sz="1400" b="1" dirty="0">
                  <a:solidFill>
                    <a:schemeClr val="bg1"/>
                  </a:solidFill>
                  <a:latin typeface="Arial" panose="020B0604020202020204" pitchFamily="34" charset="0"/>
                  <a:ea typeface="Arial" panose="020B0604020202020204" pitchFamily="34" charset="0"/>
                  <a:cs typeface="Arial" panose="020B0604020202020204" pitchFamily="34" charset="0"/>
                </a:rPr>
                <a:t>TABLE DES MATIÈRES</a:t>
              </a:r>
            </a:p>
          </p:txBody>
        </p:sp>
      </p:grpSp>
      <p:sp>
        <p:nvSpPr>
          <p:cNvPr id="5" name="TextBox 4">
            <a:extLst>
              <a:ext uri="{FF2B5EF4-FFF2-40B4-BE49-F238E27FC236}">
                <a16:creationId xmlns:a16="http://schemas.microsoft.com/office/drawing/2014/main" id="{363FDFAF-7B02-862E-7EFF-1A7D0376F9BE}"/>
              </a:ext>
            </a:extLst>
          </p:cNvPr>
          <p:cNvSpPr txBox="1"/>
          <p:nvPr/>
        </p:nvSpPr>
        <p:spPr>
          <a:xfrm>
            <a:off x="552450" y="2111598"/>
            <a:ext cx="4965849" cy="5966709"/>
          </a:xfrm>
          <a:prstGeom prst="rect">
            <a:avLst/>
          </a:prstGeom>
          <a:noFill/>
        </p:spPr>
        <p:txBody>
          <a:bodyPr wrap="square" lIns="0" tIns="46800" rIns="0" rtlCol="0">
            <a:noAutofit/>
          </a:bodyPr>
          <a:lstStyle/>
          <a:p>
            <a:pPr>
              <a:spcBef>
                <a:spcPts val="600"/>
              </a:spcBef>
            </a:pPr>
            <a:r>
              <a:rPr lang="fr-FR" sz="1200" b="1" dirty="0"/>
              <a:t>CONTEXTE ET JUSTIFICATION</a:t>
            </a:r>
          </a:p>
          <a:p>
            <a:pPr>
              <a:spcBef>
                <a:spcPts val="600"/>
              </a:spcBef>
            </a:pPr>
            <a:r>
              <a:rPr lang="fr-FR" sz="1200" b="1" dirty="0"/>
              <a:t>OBJECTIF DE CARDIO4Dakar</a:t>
            </a:r>
          </a:p>
          <a:p>
            <a:pPr marL="180000" lvl="1"/>
            <a:r>
              <a:rPr lang="fr-FR" sz="1200" dirty="0"/>
              <a:t>Objectif principal</a:t>
            </a:r>
            <a:endParaRPr lang="hr-HR" sz="1200" dirty="0"/>
          </a:p>
          <a:p>
            <a:pPr marL="180000" lvl="1"/>
            <a:r>
              <a:rPr lang="fr-FR" sz="1200" dirty="0"/>
              <a:t>L’approche CARDIO</a:t>
            </a:r>
          </a:p>
          <a:p>
            <a:pPr marL="180000" lvl="1"/>
            <a:r>
              <a:rPr lang="fr-FR" sz="1200" dirty="0"/>
              <a:t>Principaux résultats</a:t>
            </a:r>
            <a:endParaRPr lang="hr-HR" sz="1200" dirty="0"/>
          </a:p>
          <a:p>
            <a:pPr>
              <a:spcBef>
                <a:spcPts val="600"/>
              </a:spcBef>
              <a:spcAft>
                <a:spcPts val="400"/>
              </a:spcAft>
            </a:pPr>
            <a:r>
              <a:rPr lang="fr-FR" sz="1200" b="1" dirty="0"/>
              <a:t>OBJECTIFS DE LA BOITE A OUTILS</a:t>
            </a:r>
          </a:p>
          <a:p>
            <a:pPr marL="180000" lvl="1"/>
            <a:r>
              <a:rPr lang="fr-FR" sz="1200" dirty="0"/>
              <a:t>Public cible</a:t>
            </a:r>
          </a:p>
          <a:p>
            <a:pPr marL="180000" lvl="1"/>
            <a:r>
              <a:rPr lang="fr-FR" sz="1200" dirty="0"/>
              <a:t>Instructions pour l’utilisation de la boîte à outils</a:t>
            </a:r>
          </a:p>
          <a:p>
            <a:pPr marL="180000" lvl="1"/>
            <a:r>
              <a:rPr lang="fr-FR" sz="1200" dirty="0"/>
              <a:t>Remerciements</a:t>
            </a:r>
          </a:p>
          <a:p>
            <a:pPr>
              <a:spcAft>
                <a:spcPts val="400"/>
              </a:spcAft>
            </a:pPr>
            <a:endParaRPr lang="fr-FR" sz="1200" dirty="0"/>
          </a:p>
        </p:txBody>
      </p:sp>
      <p:sp>
        <p:nvSpPr>
          <p:cNvPr id="6" name="TextBox 5">
            <a:extLst>
              <a:ext uri="{FF2B5EF4-FFF2-40B4-BE49-F238E27FC236}">
                <a16:creationId xmlns:a16="http://schemas.microsoft.com/office/drawing/2014/main" id="{8B000CBD-1400-38CD-9238-E62576064D45}"/>
              </a:ext>
            </a:extLst>
          </p:cNvPr>
          <p:cNvSpPr txBox="1"/>
          <p:nvPr/>
        </p:nvSpPr>
        <p:spPr>
          <a:xfrm>
            <a:off x="5631824" y="2111598"/>
            <a:ext cx="400676" cy="5966709"/>
          </a:xfrm>
          <a:prstGeom prst="rect">
            <a:avLst/>
          </a:prstGeom>
          <a:noFill/>
        </p:spPr>
        <p:txBody>
          <a:bodyPr wrap="square" lIns="0" tIns="46800" rIns="0" rtlCol="0">
            <a:noAutofit/>
          </a:bodyPr>
          <a:lstStyle/>
          <a:p>
            <a:pPr algn="r">
              <a:spcBef>
                <a:spcPts val="600"/>
              </a:spcBef>
            </a:pPr>
            <a:r>
              <a:rPr lang="hr-HR" sz="1200" b="1" dirty="0"/>
              <a:t>3</a:t>
            </a:r>
            <a:endParaRPr lang="fr-FR" sz="1200" b="1" dirty="0"/>
          </a:p>
          <a:p>
            <a:pPr algn="r">
              <a:spcBef>
                <a:spcPts val="600"/>
              </a:spcBef>
            </a:pPr>
            <a:r>
              <a:rPr lang="hr-HR" sz="1200" b="1" dirty="0"/>
              <a:t>4</a:t>
            </a:r>
            <a:endParaRPr lang="fr-FR" sz="1200" b="1" dirty="0"/>
          </a:p>
          <a:p>
            <a:pPr marL="180000" lvl="1" algn="r"/>
            <a:r>
              <a:rPr lang="hr-HR" sz="1200" dirty="0"/>
              <a:t>4</a:t>
            </a:r>
          </a:p>
          <a:p>
            <a:pPr marL="180000" lvl="1" algn="r"/>
            <a:r>
              <a:rPr lang="hr-HR" sz="1200" dirty="0"/>
              <a:t>4</a:t>
            </a:r>
            <a:endParaRPr lang="fr-FR" sz="1200" dirty="0"/>
          </a:p>
          <a:p>
            <a:pPr marL="180000" lvl="1" algn="r"/>
            <a:r>
              <a:rPr lang="hr-HR" sz="1200" dirty="0"/>
              <a:t>5</a:t>
            </a:r>
          </a:p>
          <a:p>
            <a:pPr marL="180000" lvl="1" algn="r"/>
            <a:r>
              <a:rPr lang="hr-HR" sz="1200" dirty="0"/>
              <a:t>5</a:t>
            </a:r>
            <a:endParaRPr lang="fr-FR" sz="1200" dirty="0"/>
          </a:p>
          <a:p>
            <a:pPr algn="r">
              <a:spcBef>
                <a:spcPts val="600"/>
              </a:spcBef>
              <a:spcAft>
                <a:spcPts val="400"/>
              </a:spcAft>
            </a:pPr>
            <a:r>
              <a:rPr lang="hr-HR" sz="1200" b="1" dirty="0"/>
              <a:t>6</a:t>
            </a:r>
            <a:endParaRPr lang="fr-FR" sz="1200" b="1" dirty="0"/>
          </a:p>
          <a:p>
            <a:pPr marL="180000" lvl="1" algn="r"/>
            <a:r>
              <a:rPr lang="hr-HR" sz="1200" dirty="0"/>
              <a:t>6</a:t>
            </a:r>
            <a:endParaRPr lang="fr-FR" sz="1200" dirty="0"/>
          </a:p>
          <a:p>
            <a:pPr marL="180000" lvl="1" algn="r"/>
            <a:r>
              <a:rPr lang="hr-HR" sz="1200" dirty="0"/>
              <a:t>6</a:t>
            </a:r>
            <a:endParaRPr lang="fr-FR" sz="1200" dirty="0"/>
          </a:p>
          <a:p>
            <a:pPr algn="r">
              <a:spcAft>
                <a:spcPts val="400"/>
              </a:spcAft>
            </a:pPr>
            <a:endParaRPr lang="fr-FR" sz="1200" dirty="0"/>
          </a:p>
        </p:txBody>
      </p:sp>
      <p:pic>
        <p:nvPicPr>
          <p:cNvPr id="7" name="Image 1">
            <a:extLst>
              <a:ext uri="{FF2B5EF4-FFF2-40B4-BE49-F238E27FC236}">
                <a16:creationId xmlns:a16="http://schemas.microsoft.com/office/drawing/2014/main" id="{35C13E60-093A-B893-A806-B502E02BAF27}"/>
              </a:ext>
            </a:extLst>
          </p:cNvPr>
          <p:cNvPicPr>
            <a:picLocks noChangeAspect="1"/>
          </p:cNvPicPr>
          <p:nvPr/>
        </p:nvPicPr>
        <p:blipFill>
          <a:blip r:embed="rId5"/>
          <a:stretch>
            <a:fillRect/>
          </a:stretch>
        </p:blipFill>
        <p:spPr>
          <a:xfrm>
            <a:off x="642909" y="4641118"/>
            <a:ext cx="5291193" cy="3711242"/>
          </a:xfrm>
          <a:prstGeom prst="rect">
            <a:avLst/>
          </a:prstGeom>
        </p:spPr>
      </p:pic>
    </p:spTree>
    <p:extLst>
      <p:ext uri="{BB962C8B-B14F-4D97-AF65-F5344CB8AC3E}">
        <p14:creationId xmlns:p14="http://schemas.microsoft.com/office/powerpoint/2010/main" val="3669931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512639A-FBD5-ECF3-0B82-54E9E0F7E925}"/>
              </a:ext>
            </a:extLst>
          </p:cNvPr>
          <p:cNvGraphicFramePr>
            <a:graphicFrameLocks noChangeAspect="1"/>
          </p:cNvGraphicFramePr>
          <p:nvPr>
            <p:custDataLst>
              <p:tags r:id="rId1"/>
            </p:custDataLst>
            <p:extLst>
              <p:ext uri="{D42A27DB-BD31-4B8C-83A1-F6EECF244321}">
                <p14:modId xmlns:p14="http://schemas.microsoft.com/office/powerpoint/2010/main" val="2797720772"/>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think-cell data - do not delete" hidden="1">
                        <a:extLst>
                          <a:ext uri="{FF2B5EF4-FFF2-40B4-BE49-F238E27FC236}">
                            <a16:creationId xmlns:a16="http://schemas.microsoft.com/office/drawing/2014/main" id="{0512639A-FBD5-ECF3-0B82-54E9E0F7E925}"/>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grpSp>
        <p:nvGrpSpPr>
          <p:cNvPr id="44" name="Group 43">
            <a:extLst>
              <a:ext uri="{FF2B5EF4-FFF2-40B4-BE49-F238E27FC236}">
                <a16:creationId xmlns:a16="http://schemas.microsoft.com/office/drawing/2014/main" id="{CEB829AB-67A0-3358-0BE1-E73A61AC709E}"/>
              </a:ext>
            </a:extLst>
          </p:cNvPr>
          <p:cNvGrpSpPr/>
          <p:nvPr/>
        </p:nvGrpSpPr>
        <p:grpSpPr>
          <a:xfrm>
            <a:off x="455614" y="1432125"/>
            <a:ext cx="6121402" cy="423400"/>
            <a:chOff x="455614" y="1432125"/>
            <a:chExt cx="6121402" cy="423400"/>
          </a:xfrm>
        </p:grpSpPr>
        <p:sp>
          <p:nvSpPr>
            <p:cNvPr id="38" name="Rectangle: Top Corners Rounded 37">
              <a:extLst>
                <a:ext uri="{FF2B5EF4-FFF2-40B4-BE49-F238E27FC236}">
                  <a16:creationId xmlns:a16="http://schemas.microsoft.com/office/drawing/2014/main" id="{D2656C93-7FBB-C547-1CF5-32DACBAB6DC9}"/>
                </a:ext>
              </a:extLst>
            </p:cNvPr>
            <p:cNvSpPr/>
            <p:nvPr/>
          </p:nvSpPr>
          <p:spPr>
            <a:xfrm rot="16200000">
              <a:off x="3304615" y="-1416876"/>
              <a:ext cx="423400" cy="6121402"/>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5" name="Text Box 2">
              <a:extLst>
                <a:ext uri="{FF2B5EF4-FFF2-40B4-BE49-F238E27FC236}">
                  <a16:creationId xmlns:a16="http://schemas.microsoft.com/office/drawing/2014/main" id="{54133C1C-0DE4-A5E8-5757-E68B51B3F360}"/>
                </a:ext>
              </a:extLst>
            </p:cNvPr>
            <p:cNvSpPr txBox="1"/>
            <p:nvPr userDrawn="1"/>
          </p:nvSpPr>
          <p:spPr>
            <a:xfrm>
              <a:off x="552451" y="1456604"/>
              <a:ext cx="5494010"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CONTEXTE ET JUSTIFICATIONS</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28" name="TextBox 27">
            <a:extLst>
              <a:ext uri="{FF2B5EF4-FFF2-40B4-BE49-F238E27FC236}">
                <a16:creationId xmlns:a16="http://schemas.microsoft.com/office/drawing/2014/main" id="{CB71E4C0-3902-C134-8A2A-D36257C9A50F}"/>
              </a:ext>
            </a:extLst>
          </p:cNvPr>
          <p:cNvSpPr txBox="1"/>
          <p:nvPr/>
        </p:nvSpPr>
        <p:spPr>
          <a:xfrm>
            <a:off x="552450" y="2090337"/>
            <a:ext cx="5480049" cy="3054450"/>
          </a:xfrm>
          <a:prstGeom prst="rect">
            <a:avLst/>
          </a:prstGeom>
          <a:noFill/>
        </p:spPr>
        <p:txBody>
          <a:bodyPr wrap="square" lIns="0" tIns="46800" rIns="0" rtlCol="0">
            <a:noAutofit/>
          </a:bodyPr>
          <a:lstStyle/>
          <a:p>
            <a:r>
              <a:rPr lang="fr-FR" sz="1200" dirty="0"/>
              <a:t>Les maladies non transmissibles (MNT) constituent un véritable problème de santé publique dans le monde étant responsables de trois quart de décès chaque année selon l’OMS, Parmi elles, l’hypertension artérielle et ses complications majeures notamment les accidents vasculaires cérébraux et les infarctus du myocarde mobilisent environ 10 % des dépenses mondiales de santé.  </a:t>
            </a:r>
            <a:endParaRPr lang="hr-HR" sz="1200" baseline="30000" dirty="0"/>
          </a:p>
          <a:p>
            <a:endParaRPr lang="fr-FR" sz="1200" dirty="0"/>
          </a:p>
          <a:p>
            <a:r>
              <a:rPr lang="fr-FR" sz="1200" dirty="0"/>
              <a:t>Le Sénégal n’est pas épargné par ces affections chroniques responsables d’une lourde morbi-mortalité. En effet, les MNT provoquent 45% des décès dans notre pays dont 16% dues aux maladies cardio-vasculaires (OMS, 2022). La prévalence de l’hypertension artérielle est estimée à 29,8% chez les personnes âgées de 18 à 69 ans (Enquête STEPS, 2015).</a:t>
            </a:r>
          </a:p>
          <a:p>
            <a:endParaRPr lang="fr-FR" sz="1200" dirty="0"/>
          </a:p>
          <a:p>
            <a:r>
              <a:rPr lang="fr-FR" sz="1200" dirty="0"/>
              <a:t>Depuis 2016, la Fondation Novartis, en partenariat avec le Ministère de la Santé et de l’Action sociale (MSAS), a appuyé la lutte contre l’HTA au Sénégal à travers deux initiatives de santé urbaine « </a:t>
            </a:r>
            <a:r>
              <a:rPr lang="fr-FR" sz="1200" dirty="0" err="1"/>
              <a:t>Better</a:t>
            </a:r>
            <a:r>
              <a:rPr lang="fr-FR" sz="1200" dirty="0"/>
              <a:t> Hearts </a:t>
            </a:r>
            <a:r>
              <a:rPr lang="fr-FR" sz="1200" dirty="0" err="1"/>
              <a:t>Better</a:t>
            </a:r>
            <a:r>
              <a:rPr lang="fr-FR" sz="1200" dirty="0"/>
              <a:t> Cities » (2017-2021) et CARDIO4Dakar (2022-2024).  </a:t>
            </a:r>
          </a:p>
        </p:txBody>
      </p:sp>
      <p:sp>
        <p:nvSpPr>
          <p:cNvPr id="2" name="Oval 1">
            <a:extLst>
              <a:ext uri="{FF2B5EF4-FFF2-40B4-BE49-F238E27FC236}">
                <a16:creationId xmlns:a16="http://schemas.microsoft.com/office/drawing/2014/main" id="{9578184E-C14C-486F-6CCB-B2766847BF6F}"/>
              </a:ext>
            </a:extLst>
          </p:cNvPr>
          <p:cNvSpPr/>
          <p:nvPr/>
        </p:nvSpPr>
        <p:spPr>
          <a:xfrm>
            <a:off x="5418723" y="131047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C4B4E506-286B-D19C-B53B-6B4D7F01CC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38157" y="1329908"/>
            <a:ext cx="586373" cy="586373"/>
          </a:xfrm>
          <a:prstGeom prst="rect">
            <a:avLst/>
          </a:prstGeom>
        </p:spPr>
      </p:pic>
      <p:grpSp>
        <p:nvGrpSpPr>
          <p:cNvPr id="4" name="Group 3">
            <a:extLst>
              <a:ext uri="{FF2B5EF4-FFF2-40B4-BE49-F238E27FC236}">
                <a16:creationId xmlns:a16="http://schemas.microsoft.com/office/drawing/2014/main" id="{3F31405C-CBF7-2712-3E0A-D306A0535079}"/>
              </a:ext>
            </a:extLst>
          </p:cNvPr>
          <p:cNvGrpSpPr/>
          <p:nvPr/>
        </p:nvGrpSpPr>
        <p:grpSpPr>
          <a:xfrm>
            <a:off x="455611" y="5346628"/>
            <a:ext cx="6121402" cy="423400"/>
            <a:chOff x="455614" y="1432125"/>
            <a:chExt cx="6121402" cy="423400"/>
          </a:xfrm>
        </p:grpSpPr>
        <p:sp>
          <p:nvSpPr>
            <p:cNvPr id="6" name="Rectangle: Top Corners Rounded 5">
              <a:extLst>
                <a:ext uri="{FF2B5EF4-FFF2-40B4-BE49-F238E27FC236}">
                  <a16:creationId xmlns:a16="http://schemas.microsoft.com/office/drawing/2014/main" id="{B9375461-29C6-5A1B-58C3-B26F96E0A8FA}"/>
                </a:ext>
              </a:extLst>
            </p:cNvPr>
            <p:cNvSpPr/>
            <p:nvPr/>
          </p:nvSpPr>
          <p:spPr>
            <a:xfrm rot="16200000">
              <a:off x="3304615" y="-1416876"/>
              <a:ext cx="423400" cy="6121402"/>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7" name="Text Box 2">
              <a:extLst>
                <a:ext uri="{FF2B5EF4-FFF2-40B4-BE49-F238E27FC236}">
                  <a16:creationId xmlns:a16="http://schemas.microsoft.com/office/drawing/2014/main" id="{2D43DF71-51F4-57B1-9D69-9173A259CA7A}"/>
                </a:ext>
              </a:extLst>
            </p:cNvPr>
            <p:cNvSpPr txBox="1"/>
            <p:nvPr userDrawn="1"/>
          </p:nvSpPr>
          <p:spPr>
            <a:xfrm>
              <a:off x="552451" y="1456604"/>
              <a:ext cx="5494010" cy="375774"/>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OBJECTIFS DE CARDIO4Dakar</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10" name="TextBox 9">
            <a:extLst>
              <a:ext uri="{FF2B5EF4-FFF2-40B4-BE49-F238E27FC236}">
                <a16:creationId xmlns:a16="http://schemas.microsoft.com/office/drawing/2014/main" id="{0400BAA6-9E97-8EE4-8878-E1C79A914F04}"/>
              </a:ext>
            </a:extLst>
          </p:cNvPr>
          <p:cNvSpPr txBox="1"/>
          <p:nvPr/>
        </p:nvSpPr>
        <p:spPr>
          <a:xfrm>
            <a:off x="537583" y="5930408"/>
            <a:ext cx="5480049" cy="3054450"/>
          </a:xfrm>
          <a:prstGeom prst="rect">
            <a:avLst/>
          </a:prstGeom>
          <a:noFill/>
        </p:spPr>
        <p:txBody>
          <a:bodyPr wrap="square" lIns="0" tIns="46800" rIns="0" rtlCol="0">
            <a:noAutofit/>
          </a:bodyPr>
          <a:lstStyle/>
          <a:p>
            <a:r>
              <a:rPr lang="fr-FR" sz="1200" dirty="0"/>
              <a:t>C’est dans ce contexte que la Fondation Novartis a appuyé depuis 2016 la lutte contre l’HTA au Sénégal en partenariat avec le Ministère de la Santé et de l’Action sociale (MSAS) d‘abord dans le cadre de l’initiative de santé urbaine </a:t>
            </a:r>
            <a:br>
              <a:rPr lang="hr-HR" sz="1200" dirty="0"/>
            </a:br>
            <a:r>
              <a:rPr lang="fr-FR" sz="1200" dirty="0"/>
              <a:t>« </a:t>
            </a:r>
            <a:r>
              <a:rPr lang="fr-FR" sz="1200" dirty="0" err="1"/>
              <a:t>Better</a:t>
            </a:r>
            <a:r>
              <a:rPr lang="fr-FR" sz="1200" dirty="0"/>
              <a:t> Hearts </a:t>
            </a:r>
            <a:r>
              <a:rPr lang="fr-FR" sz="1200" dirty="0" err="1"/>
              <a:t>Better</a:t>
            </a:r>
            <a:r>
              <a:rPr lang="fr-FR" sz="1200" dirty="0"/>
              <a:t> Cities » (2017-2021) puis dans le cadre du projet CARDIO4Dakar (2022-2024). </a:t>
            </a:r>
          </a:p>
          <a:p>
            <a:endParaRPr lang="fr-FR" sz="1200" dirty="0"/>
          </a:p>
          <a:p>
            <a:r>
              <a:rPr lang="fr-FR" sz="1200" dirty="0"/>
              <a:t>Ces projets ont été mis en œuvre par l’ONG </a:t>
            </a:r>
            <a:r>
              <a:rPr lang="fr-FR" sz="1200" dirty="0" err="1"/>
              <a:t>IntraHealth</a:t>
            </a:r>
            <a:r>
              <a:rPr lang="fr-FR" sz="1200" dirty="0"/>
              <a:t> International sous le leadership de la Division de Lutte contre les Maladies Non Transmissibles (DLMNT). Ces projets avaient pour objectif principal de réduire la survenue des événements cardio-vasculaires majeurs au sein de la population des quatre (4) districts sanitaires du département de Dakar en luttant contre les facteurs de risque cardiovasculaires notamment l’hypertension artérielle, le diabète et l’hypercholestérolémie. </a:t>
            </a:r>
          </a:p>
        </p:txBody>
      </p:sp>
      <p:sp>
        <p:nvSpPr>
          <p:cNvPr id="12" name="Oval 11">
            <a:extLst>
              <a:ext uri="{FF2B5EF4-FFF2-40B4-BE49-F238E27FC236}">
                <a16:creationId xmlns:a16="http://schemas.microsoft.com/office/drawing/2014/main" id="{F0FAB5D2-04E3-878B-5002-694FAFB35F6A}"/>
              </a:ext>
            </a:extLst>
          </p:cNvPr>
          <p:cNvSpPr/>
          <p:nvPr/>
        </p:nvSpPr>
        <p:spPr>
          <a:xfrm>
            <a:off x="5398594" y="521943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phic 13">
            <a:extLst>
              <a:ext uri="{FF2B5EF4-FFF2-40B4-BE49-F238E27FC236}">
                <a16:creationId xmlns:a16="http://schemas.microsoft.com/office/drawing/2014/main" id="{09A17584-CBE4-D393-4C9C-2DE1CB4A74E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87214" y="5208054"/>
            <a:ext cx="648000" cy="648000"/>
          </a:xfrm>
          <a:prstGeom prst="rect">
            <a:avLst/>
          </a:prstGeom>
        </p:spPr>
      </p:pic>
    </p:spTree>
    <p:extLst>
      <p:ext uri="{BB962C8B-B14F-4D97-AF65-F5344CB8AC3E}">
        <p14:creationId xmlns:p14="http://schemas.microsoft.com/office/powerpoint/2010/main" val="2395634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extLst>
              <p:ext uri="{D42A27DB-BD31-4B8C-83A1-F6EECF244321}">
                <p14:modId xmlns:p14="http://schemas.microsoft.com/office/powerpoint/2010/main" val="3492947466"/>
              </p:ext>
            </p:ext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D2AFEA53-CE7E-BA9B-78BD-2F270EE56B1C}"/>
              </a:ext>
            </a:extLst>
          </p:cNvPr>
          <p:cNvSpPr txBox="1"/>
          <p:nvPr/>
        </p:nvSpPr>
        <p:spPr>
          <a:xfrm>
            <a:off x="548481" y="1302904"/>
            <a:ext cx="5480049" cy="4704144"/>
          </a:xfrm>
          <a:prstGeom prst="rect">
            <a:avLst/>
          </a:prstGeom>
          <a:noFill/>
        </p:spPr>
        <p:txBody>
          <a:bodyPr wrap="square" lIns="0" tIns="46800" rIns="0" rtlCol="0">
            <a:noAutofit/>
          </a:bodyPr>
          <a:lstStyle/>
          <a:p>
            <a:r>
              <a:rPr lang="en-US" sz="1400" b="1" dirty="0">
                <a:solidFill>
                  <a:schemeClr val="accent1"/>
                </a:solidFill>
              </a:rPr>
              <a:t>Objectif principal</a:t>
            </a:r>
            <a:endParaRPr lang="hr-HR" sz="1400" b="1" dirty="0">
              <a:solidFill>
                <a:schemeClr val="accent1"/>
              </a:solidFill>
            </a:endParaRPr>
          </a:p>
          <a:p>
            <a:pPr marL="0" indent="0">
              <a:lnSpc>
                <a:spcPct val="107000"/>
              </a:lnSpc>
              <a:spcAft>
                <a:spcPts val="800"/>
              </a:spcAft>
              <a:buNone/>
            </a:pPr>
            <a:r>
              <a:rPr lang="fr-FR" sz="1200" b="1" dirty="0"/>
              <a:t>L’objectif principal </a:t>
            </a:r>
            <a:r>
              <a:rPr lang="fr-FR" sz="1200" dirty="0"/>
              <a:t>était de réduire de 10% la survenue des événements cardiovasculaires aigus au sein de la population urbaine en luttant contre les facteurs de risque cardiovasculaires. </a:t>
            </a:r>
          </a:p>
          <a:p>
            <a:endParaRPr lang="hr-HR" sz="1200" dirty="0"/>
          </a:p>
          <a:p>
            <a:r>
              <a:rPr lang="en-US" sz="1400" b="1" dirty="0" err="1">
                <a:solidFill>
                  <a:schemeClr val="accent1"/>
                </a:solidFill>
              </a:rPr>
              <a:t>L’approche</a:t>
            </a:r>
            <a:r>
              <a:rPr lang="en-US" sz="1400" b="1" dirty="0">
                <a:solidFill>
                  <a:schemeClr val="accent1"/>
                </a:solidFill>
              </a:rPr>
              <a:t> CARDIO</a:t>
            </a:r>
            <a:endParaRPr lang="hr-HR" sz="1400" b="1" dirty="0">
              <a:solidFill>
                <a:schemeClr val="accent1"/>
              </a:solidFill>
            </a:endParaRPr>
          </a:p>
          <a:p>
            <a:pPr marL="0" indent="0">
              <a:lnSpc>
                <a:spcPct val="107000"/>
              </a:lnSpc>
              <a:spcAft>
                <a:spcPts val="800"/>
              </a:spcAft>
              <a:buNone/>
            </a:pPr>
            <a:r>
              <a:rPr lang="fr-FR" sz="1200" dirty="0"/>
              <a:t>L'approche </a:t>
            </a:r>
            <a:r>
              <a:rPr lang="fr-FR" sz="1200" dirty="0">
                <a:hlinkClick r:id="rId5">
                  <a:extLst>
                    <a:ext uri="{A12FA001-AC4F-418D-AE19-62706E023703}">
                      <ahyp:hlinkClr xmlns:ahyp="http://schemas.microsoft.com/office/drawing/2018/hyperlinkcolor" val="tx"/>
                    </a:ext>
                  </a:extLst>
                </a:hlinkClick>
              </a:rPr>
              <a:t>CARDIO4Cities</a:t>
            </a:r>
            <a:r>
              <a:rPr lang="fr-FR" sz="1200" dirty="0"/>
              <a:t> est une approche de santé urbaine, multisectorielle, basée sur l’utilisation des données, visant à réduire les risques cardiovasculaires dans les grandes agglomérations notamment l'hypertension, le diabète et les dyslipidémies. L'approche CARDIO est composée de six (6) piliers interdépendants permettant d’accélérer et d’améliorer l'accès à des soins de santé cardiovasculaires de qualité pour tous et créer des villes plus vivables et plus saines pour le cœur. </a:t>
            </a:r>
          </a:p>
          <a:p>
            <a:pPr marL="0" indent="0">
              <a:lnSpc>
                <a:spcPct val="107000"/>
              </a:lnSpc>
              <a:spcAft>
                <a:spcPts val="800"/>
              </a:spcAft>
              <a:buNone/>
            </a:pPr>
            <a:endParaRPr lang="fr-FR" sz="1200" dirty="0"/>
          </a:p>
          <a:p>
            <a:pPr marL="0" indent="0">
              <a:lnSpc>
                <a:spcPct val="107000"/>
              </a:lnSpc>
              <a:spcAft>
                <a:spcPts val="800"/>
              </a:spcAft>
              <a:buNone/>
            </a:pPr>
            <a:endParaRPr lang="fr-FR" sz="1200" dirty="0"/>
          </a:p>
        </p:txBody>
      </p:sp>
      <p:pic>
        <p:nvPicPr>
          <p:cNvPr id="7" name="Image 1">
            <a:extLst>
              <a:ext uri="{FF2B5EF4-FFF2-40B4-BE49-F238E27FC236}">
                <a16:creationId xmlns:a16="http://schemas.microsoft.com/office/drawing/2014/main" id="{FEBECABA-3D4C-7FC8-CEE5-A0BE6311D2F6}"/>
              </a:ext>
            </a:extLst>
          </p:cNvPr>
          <p:cNvPicPr>
            <a:picLocks noChangeAspect="1"/>
          </p:cNvPicPr>
          <p:nvPr/>
        </p:nvPicPr>
        <p:blipFill>
          <a:blip r:embed="rId6"/>
          <a:stretch>
            <a:fillRect/>
          </a:stretch>
        </p:blipFill>
        <p:spPr>
          <a:xfrm>
            <a:off x="548480" y="4222745"/>
            <a:ext cx="5480049" cy="1844040"/>
          </a:xfrm>
          <a:prstGeom prst="rect">
            <a:avLst/>
          </a:prstGeom>
        </p:spPr>
      </p:pic>
      <p:sp>
        <p:nvSpPr>
          <p:cNvPr id="22" name="TextBox 21">
            <a:extLst>
              <a:ext uri="{FF2B5EF4-FFF2-40B4-BE49-F238E27FC236}">
                <a16:creationId xmlns:a16="http://schemas.microsoft.com/office/drawing/2014/main" id="{DB2F0C22-8FF5-A004-F750-D3E175494D07}"/>
              </a:ext>
            </a:extLst>
          </p:cNvPr>
          <p:cNvSpPr txBox="1"/>
          <p:nvPr/>
        </p:nvSpPr>
        <p:spPr>
          <a:xfrm>
            <a:off x="548480" y="6236309"/>
            <a:ext cx="5480049" cy="2554994"/>
          </a:xfrm>
          <a:prstGeom prst="rect">
            <a:avLst/>
          </a:prstGeom>
          <a:noFill/>
        </p:spPr>
        <p:txBody>
          <a:bodyPr wrap="square" lIns="0" tIns="46800" rIns="0" rtlCol="0">
            <a:noAutofit/>
          </a:bodyPr>
          <a:lstStyle/>
          <a:p>
            <a:r>
              <a:rPr lang="en-US" sz="1400" b="1" dirty="0" err="1">
                <a:solidFill>
                  <a:schemeClr val="accent1"/>
                </a:solidFill>
              </a:rPr>
              <a:t>Principaux</a:t>
            </a:r>
            <a:r>
              <a:rPr lang="en-US" sz="1400" b="1" dirty="0">
                <a:solidFill>
                  <a:schemeClr val="accent1"/>
                </a:solidFill>
              </a:rPr>
              <a:t> </a:t>
            </a:r>
            <a:r>
              <a:rPr lang="en-US" sz="1400" b="1" dirty="0" err="1">
                <a:solidFill>
                  <a:schemeClr val="accent1"/>
                </a:solidFill>
              </a:rPr>
              <a:t>résultats</a:t>
            </a:r>
            <a:endParaRPr lang="hr-HR" sz="1400" b="1" dirty="0">
              <a:solidFill>
                <a:schemeClr val="accent1"/>
              </a:solidFill>
            </a:endParaRPr>
          </a:p>
          <a:p>
            <a:pPr marL="342900" lvl="0" indent="-342900" algn="just">
              <a:lnSpc>
                <a:spcPct val="107000"/>
              </a:lnSpc>
              <a:buFont typeface="Symbol" panose="05050102010706020507" pitchFamily="18" charset="2"/>
              <a:buChar char=""/>
            </a:pP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14</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gents de santé </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ont 215 médecins, 475 infirmiers et sage-femmes et 24 responsables sanitaires de district formés à la prise en charge de l’hypertension et des facteurs de risque CV </a:t>
            </a:r>
            <a:r>
              <a:rPr lang="hr-H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fr-FR" sz="12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égration des indicateurs clés de performance </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t de collecte de données dans le système d'information sanitaire du district (DHIS2) avec la mise en place d’un tableau de bord ;</a:t>
            </a:r>
            <a:endParaRPr lang="fr-FR" sz="12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lus de </a:t>
            </a: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 millions de personnes</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ont bénéficié du dépistage de l’hypertension artérielle ;</a:t>
            </a:r>
            <a:endParaRPr lang="fr-FR" sz="12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Une cohorte de </a:t>
            </a: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7.557</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patients hypertendus a été diagnostiquée ;</a:t>
            </a:r>
            <a:endParaRPr lang="fr-FR" sz="12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gn="just">
              <a:lnSpc>
                <a:spcPct val="107000"/>
              </a:lnSpc>
              <a:spcAft>
                <a:spcPts val="800"/>
              </a:spcAft>
              <a:buFont typeface="Symbol" panose="05050102010706020507" pitchFamily="18" charset="2"/>
              <a:buChar char=""/>
            </a:pP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ise en place de </a:t>
            </a: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olutions digitales</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pour améliorer la détection et le suivi des patients.</a:t>
            </a:r>
            <a:endParaRPr lang="fr-FR" sz="12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458080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3">
            <a:extLst>
              <a:ext uri="{FF2B5EF4-FFF2-40B4-BE49-F238E27FC236}">
                <a16:creationId xmlns:a16="http://schemas.microsoft.com/office/drawing/2014/main" id="{8E9CD0C8-D335-D1D2-5D9F-B4C0D2587F07}"/>
              </a:ext>
            </a:extLst>
          </p:cNvPr>
          <p:cNvSpPr/>
          <p:nvPr/>
        </p:nvSpPr>
        <p:spPr>
          <a:xfrm>
            <a:off x="541056" y="2133083"/>
            <a:ext cx="5491443" cy="4029254"/>
          </a:xfrm>
          <a:prstGeom prst="roundRect">
            <a:avLst>
              <a:gd name="adj" fmla="val 6134"/>
            </a:avLst>
          </a:prstGeom>
          <a:gradFill>
            <a:gsLst>
              <a:gs pos="0">
                <a:schemeClr val="accent3">
                  <a:alpha val="20000"/>
                </a:schemeClr>
              </a:gs>
              <a:gs pos="100000">
                <a:schemeClr val="accent3">
                  <a:alpha val="0"/>
                </a:schemeClr>
              </a:gs>
            </a:gsLst>
            <a:lin ang="0" scaled="0"/>
          </a:gra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sp>
        <p:nvSpPr>
          <p:cNvPr id="5" name="Text Placeholder 2">
            <a:extLst>
              <a:ext uri="{FF2B5EF4-FFF2-40B4-BE49-F238E27FC236}">
                <a16:creationId xmlns:a16="http://schemas.microsoft.com/office/drawing/2014/main" id="{63188674-945D-988F-1347-EBBFE11CE5B6}"/>
              </a:ext>
            </a:extLst>
          </p:cNvPr>
          <p:cNvSpPr txBox="1">
            <a:spLocks/>
          </p:cNvSpPr>
          <p:nvPr/>
        </p:nvSpPr>
        <p:spPr>
          <a:xfrm>
            <a:off x="3092771" y="2133082"/>
            <a:ext cx="2943186" cy="4029255"/>
          </a:xfrm>
          <a:prstGeom prst="roundRect">
            <a:avLst>
              <a:gd name="adj" fmla="val 6598"/>
            </a:avLst>
          </a:prstGeom>
          <a:noFill/>
          <a:ln w="25400">
            <a:solidFill>
              <a:srgbClr val="CF3619"/>
            </a:solidFill>
          </a:ln>
          <a:effectLst/>
        </p:spPr>
        <p:txBody>
          <a:bodyPr vert="horz" lIns="144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400"/>
              </a:spcAft>
              <a:buClr>
                <a:srgbClr val="D41D58"/>
              </a:buClr>
              <a:buSzTx/>
              <a:buFont typeface="Arial" panose="020B0604020202020204" pitchFamily="34" charset="0"/>
              <a:buNone/>
              <a:tabLst/>
              <a:defRPr/>
            </a:pPr>
            <a:endParaRPr kumimoji="0" lang="fr-FR" b="0" i="0" u="none" strike="noStrike" kern="1200" cap="none" spc="-20" normalizeH="0" noProof="0" dirty="0">
              <a:ln>
                <a:noFill/>
              </a:ln>
              <a:solidFill>
                <a:srgbClr val="000000"/>
              </a:solidFill>
              <a:effectLst/>
              <a:uLnTx/>
              <a:uFillTx/>
              <a:latin typeface="Arial"/>
              <a:ea typeface="+mn-ea"/>
              <a:cs typeface="+mn-cs"/>
            </a:endParaRPr>
          </a:p>
        </p:txBody>
      </p:sp>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DA9E7FCD-5DCF-E202-C5DE-81B997BBCC59}"/>
              </a:ext>
            </a:extLst>
          </p:cNvPr>
          <p:cNvGrpSpPr/>
          <p:nvPr/>
        </p:nvGrpSpPr>
        <p:grpSpPr>
          <a:xfrm>
            <a:off x="455613" y="1349047"/>
            <a:ext cx="6121401" cy="423400"/>
            <a:chOff x="248430" y="4324590"/>
            <a:chExt cx="6715353" cy="464482"/>
          </a:xfrm>
        </p:grpSpPr>
        <p:sp>
          <p:nvSpPr>
            <p:cNvPr id="13" name="Rectangle: Top Corners Rounded 12">
              <a:extLst>
                <a:ext uri="{FF2B5EF4-FFF2-40B4-BE49-F238E27FC236}">
                  <a16:creationId xmlns:a16="http://schemas.microsoft.com/office/drawing/2014/main" id="{497F0ADF-C105-3E0D-4038-8502B099412B}"/>
                </a:ext>
              </a:extLst>
            </p:cNvPr>
            <p:cNvSpPr/>
            <p:nvPr/>
          </p:nvSpPr>
          <p:spPr>
            <a:xfrm rot="16200000">
              <a:off x="3373866" y="1199154"/>
              <a:ext cx="464482" cy="6715353"/>
            </a:xfrm>
            <a:prstGeom prst="round2SameRect">
              <a:avLst>
                <a:gd name="adj1" fmla="val 16949"/>
                <a:gd name="adj2" fmla="val 0"/>
              </a:avLst>
            </a:prstGeom>
            <a:gradFill>
              <a:gsLst>
                <a:gs pos="0">
                  <a:schemeClr val="accent3"/>
                </a:gs>
                <a:gs pos="100000">
                  <a:schemeClr val="accent3">
                    <a:alpha val="0"/>
                  </a:schemeClr>
                </a:gs>
              </a:gsLst>
              <a:lin ang="54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83352" tIns="41676" rIns="83352" bIns="41676" numCol="1" spcCol="0" rtlCol="0" fromWordArt="0" anchor="ctr" anchorCtr="0" forceAA="0" compatLnSpc="1">
              <a:prstTxWarp prst="textNoShape">
                <a:avLst/>
              </a:prstTxWarp>
              <a:noAutofit/>
            </a:bodyPr>
            <a:lstStyle/>
            <a:p>
              <a:endParaRPr lang="en-GB" sz="1589" dirty="0"/>
            </a:p>
          </p:txBody>
        </p:sp>
        <p:sp>
          <p:nvSpPr>
            <p:cNvPr id="14" name="Text Box 2">
              <a:extLst>
                <a:ext uri="{FF2B5EF4-FFF2-40B4-BE49-F238E27FC236}">
                  <a16:creationId xmlns:a16="http://schemas.microsoft.com/office/drawing/2014/main" id="{5007A9A8-F57C-25DF-F3B9-364BDA9066C5}"/>
                </a:ext>
              </a:extLst>
            </p:cNvPr>
            <p:cNvSpPr txBox="1"/>
            <p:nvPr userDrawn="1"/>
          </p:nvSpPr>
          <p:spPr>
            <a:xfrm>
              <a:off x="354663" y="4350715"/>
              <a:ext cx="6027088" cy="412235"/>
            </a:xfrm>
            <a:prstGeom prst="rect">
              <a:avLst/>
            </a:prstGeom>
            <a:no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a:lnSpc>
                  <a:spcPct val="107000"/>
                </a:lnSpc>
                <a:spcAft>
                  <a:spcPts val="729"/>
                </a:spcAft>
              </a:pPr>
              <a:r>
                <a:rPr lang="fr-FR" sz="1400" b="1" dirty="0">
                  <a:solidFill>
                    <a:schemeClr val="bg1"/>
                  </a:solidFill>
                  <a:latin typeface="Arial" panose="020B0604020202020204" pitchFamily="34" charset="0"/>
                  <a:ea typeface="Arial" panose="020B0604020202020204" pitchFamily="34" charset="0"/>
                  <a:cs typeface="Arial" panose="020B0604020202020204" pitchFamily="34" charset="0"/>
                </a:rPr>
                <a:t>OBJECTIFS DE LA BOITE A OUTILS</a:t>
              </a:r>
              <a:endParaRPr lang="en-GB" sz="1400" b="1"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pSp>
      <p:sp>
        <p:nvSpPr>
          <p:cNvPr id="2" name="Oval 1">
            <a:extLst>
              <a:ext uri="{FF2B5EF4-FFF2-40B4-BE49-F238E27FC236}">
                <a16:creationId xmlns:a16="http://schemas.microsoft.com/office/drawing/2014/main" id="{8EA1F7EE-AEFE-ECC5-71C8-00CF1E8572DA}"/>
              </a:ext>
            </a:extLst>
          </p:cNvPr>
          <p:cNvSpPr/>
          <p:nvPr/>
        </p:nvSpPr>
        <p:spPr>
          <a:xfrm>
            <a:off x="5398594" y="1222194"/>
            <a:ext cx="625241" cy="625241"/>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3579C2E2-6E18-5BCF-338A-02BBB3BCDE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87214" y="1210814"/>
            <a:ext cx="648000" cy="648000"/>
          </a:xfrm>
          <a:prstGeom prst="rect">
            <a:avLst/>
          </a:prstGeom>
        </p:spPr>
      </p:pic>
      <p:grpSp>
        <p:nvGrpSpPr>
          <p:cNvPr id="9" name="Group 8">
            <a:extLst>
              <a:ext uri="{FF2B5EF4-FFF2-40B4-BE49-F238E27FC236}">
                <a16:creationId xmlns:a16="http://schemas.microsoft.com/office/drawing/2014/main" id="{31DC9673-D688-0A7A-6C70-10ADF9800B10}"/>
              </a:ext>
            </a:extLst>
          </p:cNvPr>
          <p:cNvGrpSpPr/>
          <p:nvPr/>
        </p:nvGrpSpPr>
        <p:grpSpPr>
          <a:xfrm>
            <a:off x="739112" y="2322559"/>
            <a:ext cx="538476" cy="538476"/>
            <a:chOff x="666750" y="875690"/>
            <a:chExt cx="715279" cy="698016"/>
          </a:xfrm>
        </p:grpSpPr>
        <p:sp>
          <p:nvSpPr>
            <p:cNvPr id="10" name="Oval 9">
              <a:extLst>
                <a:ext uri="{FF2B5EF4-FFF2-40B4-BE49-F238E27FC236}">
                  <a16:creationId xmlns:a16="http://schemas.microsoft.com/office/drawing/2014/main" id="{DA458366-E4CC-D862-C564-48426890ED2B}"/>
                </a:ext>
              </a:extLst>
            </p:cNvPr>
            <p:cNvSpPr/>
            <p:nvPr/>
          </p:nvSpPr>
          <p:spPr>
            <a:xfrm>
              <a:off x="666750" y="892919"/>
              <a:ext cx="680787" cy="680787"/>
            </a:xfrm>
            <a:prstGeom prst="ellipse">
              <a:avLst/>
            </a:prstGeom>
            <a:solidFill>
              <a:srgbClr val="CF3619"/>
            </a:solidFill>
            <a:ln w="12700" cap="flat" cmpd="sng" algn="ctr">
              <a:noFill/>
              <a:prstDash val="solid"/>
              <a:miter lim="800000"/>
            </a:ln>
            <a:effectLst/>
          </p:spPr>
          <p:txBody>
            <a:bodyPr lIns="108000" tIns="72000" rIns="108000" bIns="72000" rtlCol="0" anchor="t"/>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a:ln>
                  <a:noFill/>
                </a:ln>
                <a:solidFill>
                  <a:srgbClr val="000000"/>
                </a:solidFill>
                <a:effectLst/>
                <a:uLnTx/>
                <a:uFillTx/>
                <a:latin typeface="Arial"/>
                <a:ea typeface="+mn-ea"/>
                <a:cs typeface="Arial" panose="020B0604020202020204" pitchFamily="34" charset="0"/>
              </a:endParaRPr>
            </a:p>
          </p:txBody>
        </p:sp>
        <p:pic>
          <p:nvPicPr>
            <p:cNvPr id="15" name="Graphic 14">
              <a:extLst>
                <a:ext uri="{FF2B5EF4-FFF2-40B4-BE49-F238E27FC236}">
                  <a16:creationId xmlns:a16="http://schemas.microsoft.com/office/drawing/2014/main" id="{889C9FA5-F48E-76A3-6ECA-73C0259A71E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6035" y="875690"/>
              <a:ext cx="695994" cy="695994"/>
            </a:xfrm>
            <a:prstGeom prst="rect">
              <a:avLst/>
            </a:prstGeom>
          </p:spPr>
        </p:pic>
      </p:grpSp>
      <p:sp>
        <p:nvSpPr>
          <p:cNvPr id="16" name="Text Placeholder 2">
            <a:extLst>
              <a:ext uri="{FF2B5EF4-FFF2-40B4-BE49-F238E27FC236}">
                <a16:creationId xmlns:a16="http://schemas.microsoft.com/office/drawing/2014/main" id="{3A2D7507-D528-AF5A-52D9-30D015479BA1}"/>
              </a:ext>
            </a:extLst>
          </p:cNvPr>
          <p:cNvSpPr txBox="1">
            <a:spLocks/>
          </p:cNvSpPr>
          <p:nvPr/>
        </p:nvSpPr>
        <p:spPr>
          <a:xfrm>
            <a:off x="744039" y="2973528"/>
            <a:ext cx="1916168" cy="1705596"/>
          </a:xfrm>
          <a:prstGeom prst="roundRect">
            <a:avLst>
              <a:gd name="adj" fmla="val 0"/>
            </a:avLst>
          </a:prstGeom>
          <a:noFill/>
          <a:ln w="25400">
            <a:noFill/>
          </a:ln>
          <a:effectLst/>
        </p:spPr>
        <p:txBody>
          <a:bodyPr vert="horz" lIns="0" tIns="0" rIns="0" bIns="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objectif général </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L’objectif général est de disposer d’une boîte à outils (toolkit) pour faciliter la réplication et pérennisation des stratégies et interventions de l’approche CARDIO au Sénégal et dans d’autres pays d’Afrique</a:t>
            </a:r>
          </a:p>
        </p:txBody>
      </p:sp>
      <p:sp>
        <p:nvSpPr>
          <p:cNvPr id="17" name="Text Placeholder 2">
            <a:extLst>
              <a:ext uri="{FF2B5EF4-FFF2-40B4-BE49-F238E27FC236}">
                <a16:creationId xmlns:a16="http://schemas.microsoft.com/office/drawing/2014/main" id="{2127167F-00AD-D8FC-B4EE-2DEF556AD6C9}"/>
              </a:ext>
            </a:extLst>
          </p:cNvPr>
          <p:cNvSpPr txBox="1">
            <a:spLocks/>
          </p:cNvSpPr>
          <p:nvPr/>
        </p:nvSpPr>
        <p:spPr>
          <a:xfrm>
            <a:off x="3089313" y="2740279"/>
            <a:ext cx="2943186" cy="3422058"/>
          </a:xfrm>
          <a:prstGeom prst="roundRect">
            <a:avLst>
              <a:gd name="adj" fmla="val 6598"/>
            </a:avLst>
          </a:prstGeom>
          <a:noFill/>
          <a:ln w="25400">
            <a:noFill/>
          </a:ln>
          <a:effectLst/>
        </p:spPr>
        <p:txBody>
          <a:bodyPr vert="horz" lIns="144000" tIns="144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400"/>
              </a:spcAft>
              <a:buClr>
                <a:srgbClr val="D41D58"/>
              </a:buClr>
              <a:buSzTx/>
              <a:buFont typeface="Arial" panose="020B0604020202020204" pitchFamily="34" charset="0"/>
              <a:buNone/>
              <a:tabLst/>
              <a:defRPr/>
            </a:pPr>
            <a:r>
              <a:rPr kumimoji="0" lang="fr-FR" sz="1200" b="1" i="0" u="none" strike="noStrike" kern="1200" cap="none" spc="0" normalizeH="0" baseline="0" noProof="0" dirty="0">
                <a:ln>
                  <a:noFill/>
                </a:ln>
                <a:solidFill>
                  <a:srgbClr val="000000"/>
                </a:solidFill>
                <a:effectLst/>
                <a:uLnTx/>
                <a:uFillTx/>
                <a:latin typeface="Arial"/>
                <a:ea typeface="+mn-ea"/>
                <a:cs typeface="+mn-cs"/>
              </a:rPr>
              <a:t>Les objectifs spécifiques </a:t>
            </a:r>
            <a:endParaRPr kumimoji="0" lang="hr-HR"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85800" rtl="0" eaLnBrk="1" fontAlgn="auto" latinLnBrk="0" hangingPunct="1">
              <a:lnSpc>
                <a:spcPct val="100000"/>
              </a:lnSpc>
              <a:spcBef>
                <a:spcPts val="0"/>
              </a:spcBef>
              <a:spcAft>
                <a:spcPts val="400"/>
              </a:spcAft>
              <a:buClr>
                <a:srgbClr val="D41D58"/>
              </a:buClr>
              <a:buSzTx/>
              <a:buFont typeface="Arial" panose="020B0604020202020204"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Les objectifs spécifiques sont </a:t>
            </a:r>
            <a:br>
              <a:rPr kumimoji="0" lang="hr-HR" sz="1200" b="0" i="0" u="none" strike="noStrike" kern="1200" cap="none" spc="0" normalizeH="0" baseline="0" noProof="0" dirty="0">
                <a:ln>
                  <a:noFill/>
                </a:ln>
                <a:solidFill>
                  <a:srgbClr val="000000"/>
                </a:solidFill>
                <a:effectLst/>
                <a:uLnTx/>
                <a:uFillTx/>
                <a:latin typeface="Arial"/>
                <a:ea typeface="+mn-ea"/>
                <a:cs typeface="+mn-cs"/>
              </a:rPr>
            </a:br>
            <a:r>
              <a:rPr kumimoji="0" lang="fr-FR" sz="1200" b="0" i="0" u="none" strike="noStrike" kern="1200" cap="none" spc="0" normalizeH="0" baseline="0" noProof="0" dirty="0">
                <a:ln>
                  <a:noFill/>
                </a:ln>
                <a:solidFill>
                  <a:srgbClr val="000000"/>
                </a:solidFill>
                <a:effectLst/>
                <a:uLnTx/>
                <a:uFillTx/>
                <a:latin typeface="Arial"/>
                <a:ea typeface="+mn-ea"/>
                <a:cs typeface="+mn-cs"/>
              </a:rPr>
              <a:t>les suivants:</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Fournir l’orientation sur l’approche CARDIO</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0" normalizeH="0" baseline="0" noProof="0" dirty="0">
                <a:ln>
                  <a:noFill/>
                </a:ln>
                <a:solidFill>
                  <a:srgbClr val="000000"/>
                </a:solidFill>
                <a:effectLst/>
                <a:uLnTx/>
                <a:uFillTx/>
                <a:latin typeface="Arial"/>
                <a:ea typeface="+mn-ea"/>
                <a:cs typeface="+mn-cs"/>
              </a:rPr>
              <a:t>Partager les interventions clés </a:t>
            </a:r>
            <a:br>
              <a:rPr kumimoji="0" lang="hr-HR" b="0" i="0" u="none" strike="noStrike" kern="1200" cap="none" spc="0" normalizeH="0" baseline="0" noProof="0" dirty="0">
                <a:ln>
                  <a:noFill/>
                </a:ln>
                <a:solidFill>
                  <a:srgbClr val="000000"/>
                </a:solidFill>
                <a:effectLst/>
                <a:uLnTx/>
                <a:uFillTx/>
                <a:latin typeface="Arial"/>
                <a:ea typeface="+mn-ea"/>
                <a:cs typeface="+mn-cs"/>
              </a:rPr>
            </a:br>
            <a:r>
              <a:rPr kumimoji="0" lang="fr-FR" b="0" i="0" u="none" strike="noStrike" kern="1200" cap="none" spc="0" normalizeH="0" baseline="0" noProof="0" dirty="0">
                <a:ln>
                  <a:noFill/>
                </a:ln>
                <a:solidFill>
                  <a:srgbClr val="000000"/>
                </a:solidFill>
                <a:effectLst/>
                <a:uLnTx/>
                <a:uFillTx/>
                <a:latin typeface="Arial"/>
                <a:ea typeface="+mn-ea"/>
                <a:cs typeface="+mn-cs"/>
              </a:rPr>
              <a:t>de l’approche CARDIO à Dakar et les rôles et responsabilités des acteurs, ainsi que les grandes étapes de mise en œuvre</a:t>
            </a:r>
          </a:p>
          <a:p>
            <a:pPr marL="288000" marR="0" lvl="0" indent="0" algn="l" defTabSz="685800" rtl="0" eaLnBrk="1" fontAlgn="auto" latinLnBrk="0" hangingPunct="1">
              <a:lnSpc>
                <a:spcPct val="100000"/>
              </a:lnSpc>
              <a:spcBef>
                <a:spcPts val="0"/>
              </a:spcBef>
              <a:buClr>
                <a:srgbClr val="D41D58"/>
              </a:buClr>
              <a:buSzTx/>
              <a:buFont typeface="Arial" panose="020B0604020202020204" pitchFamily="34" charset="0"/>
              <a:buNone/>
              <a:tabLst/>
              <a:defRPr/>
            </a:pPr>
            <a:r>
              <a:rPr kumimoji="0" lang="fr-FR" b="0" i="0" u="none" strike="noStrike" kern="1200" cap="none" spc="-20" normalizeH="0" noProof="0" dirty="0">
                <a:ln>
                  <a:noFill/>
                </a:ln>
                <a:solidFill>
                  <a:srgbClr val="000000"/>
                </a:solidFill>
                <a:effectLst/>
                <a:uLnTx/>
                <a:uFillTx/>
                <a:latin typeface="Arial"/>
                <a:ea typeface="+mn-ea"/>
                <a:cs typeface="+mn-cs"/>
              </a:rPr>
              <a:t>Partager les documents et les outils de référence (i.e. formulaires, protocoles et processus) nécessaires ou utiles à la mise </a:t>
            </a:r>
            <a:br>
              <a:rPr kumimoji="0" lang="hr-HR" b="0" i="0" u="none" strike="noStrike" kern="1200" cap="none" spc="-20" normalizeH="0" noProof="0" dirty="0">
                <a:ln>
                  <a:noFill/>
                </a:ln>
                <a:solidFill>
                  <a:srgbClr val="000000"/>
                </a:solidFill>
                <a:effectLst/>
                <a:uLnTx/>
                <a:uFillTx/>
                <a:latin typeface="Arial"/>
                <a:ea typeface="+mn-ea"/>
                <a:cs typeface="+mn-cs"/>
              </a:rPr>
            </a:br>
            <a:r>
              <a:rPr kumimoji="0" lang="fr-FR" b="0" i="0" u="none" strike="noStrike" kern="1200" cap="none" spc="-20" normalizeH="0" noProof="0" dirty="0">
                <a:ln>
                  <a:noFill/>
                </a:ln>
                <a:solidFill>
                  <a:srgbClr val="000000"/>
                </a:solidFill>
                <a:effectLst/>
                <a:uLnTx/>
                <a:uFillTx/>
                <a:latin typeface="Arial"/>
                <a:ea typeface="+mn-ea"/>
                <a:cs typeface="+mn-cs"/>
              </a:rPr>
              <a:t>en œuvre de l’approche CARDIO</a:t>
            </a:r>
          </a:p>
        </p:txBody>
      </p:sp>
      <p:grpSp>
        <p:nvGrpSpPr>
          <p:cNvPr id="18" name="Group 17">
            <a:extLst>
              <a:ext uri="{FF2B5EF4-FFF2-40B4-BE49-F238E27FC236}">
                <a16:creationId xmlns:a16="http://schemas.microsoft.com/office/drawing/2014/main" id="{E49C21FC-F6F8-EF1B-0424-45A867A78A41}"/>
              </a:ext>
            </a:extLst>
          </p:cNvPr>
          <p:cNvGrpSpPr/>
          <p:nvPr/>
        </p:nvGrpSpPr>
        <p:grpSpPr>
          <a:xfrm>
            <a:off x="3273219" y="3607103"/>
            <a:ext cx="185292" cy="1456641"/>
            <a:chOff x="4975225" y="1936238"/>
            <a:chExt cx="187324" cy="1456641"/>
          </a:xfrm>
        </p:grpSpPr>
        <p:sp>
          <p:nvSpPr>
            <p:cNvPr id="19" name="Oval 18">
              <a:extLst>
                <a:ext uri="{FF2B5EF4-FFF2-40B4-BE49-F238E27FC236}">
                  <a16:creationId xmlns:a16="http://schemas.microsoft.com/office/drawing/2014/main" id="{8A0EA0D0-546F-0D13-B022-8BDEB9233C1F}"/>
                </a:ext>
              </a:extLst>
            </p:cNvPr>
            <p:cNvSpPr/>
            <p:nvPr/>
          </p:nvSpPr>
          <p:spPr>
            <a:xfrm>
              <a:off x="4975225" y="1936238"/>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0" name="Oval 19">
              <a:extLst>
                <a:ext uri="{FF2B5EF4-FFF2-40B4-BE49-F238E27FC236}">
                  <a16:creationId xmlns:a16="http://schemas.microsoft.com/office/drawing/2014/main" id="{F02C980B-68B4-CA58-549C-1CFF671B52ED}"/>
                </a:ext>
              </a:extLst>
            </p:cNvPr>
            <p:cNvSpPr/>
            <p:nvPr/>
          </p:nvSpPr>
          <p:spPr>
            <a:xfrm>
              <a:off x="4975225" y="2291622"/>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21" name="Oval 20">
              <a:extLst>
                <a:ext uri="{FF2B5EF4-FFF2-40B4-BE49-F238E27FC236}">
                  <a16:creationId xmlns:a16="http://schemas.microsoft.com/office/drawing/2014/main" id="{2A5404B6-55DB-5BF2-F811-3632DDC99D70}"/>
                </a:ext>
              </a:extLst>
            </p:cNvPr>
            <p:cNvSpPr/>
            <p:nvPr/>
          </p:nvSpPr>
          <p:spPr>
            <a:xfrm>
              <a:off x="4975225" y="3205555"/>
              <a:ext cx="187324" cy="187324"/>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6" name="TextBox 5">
            <a:extLst>
              <a:ext uri="{FF2B5EF4-FFF2-40B4-BE49-F238E27FC236}">
                <a16:creationId xmlns:a16="http://schemas.microsoft.com/office/drawing/2014/main" id="{82F9213F-17FE-EE59-5A89-83D2F9AB7209}"/>
              </a:ext>
            </a:extLst>
          </p:cNvPr>
          <p:cNvSpPr txBox="1"/>
          <p:nvPr/>
        </p:nvSpPr>
        <p:spPr>
          <a:xfrm>
            <a:off x="625840" y="6365104"/>
            <a:ext cx="5480049" cy="4704144"/>
          </a:xfrm>
          <a:prstGeom prst="rect">
            <a:avLst/>
          </a:prstGeom>
          <a:noFill/>
        </p:spPr>
        <p:txBody>
          <a:bodyPr wrap="square" lIns="0" tIns="46800" rIns="0" rtlCol="0">
            <a:noAutofit/>
          </a:bodyPr>
          <a:lstStyle/>
          <a:p>
            <a:r>
              <a:rPr lang="fr-FR" sz="1400" b="1" dirty="0">
                <a:solidFill>
                  <a:schemeClr val="accent1"/>
                </a:solidFill>
              </a:rPr>
              <a:t>Public cible</a:t>
            </a:r>
            <a:r>
              <a:rPr lang="hr-HR" sz="1400" b="1" dirty="0">
                <a:solidFill>
                  <a:schemeClr val="accent1"/>
                </a:solidFill>
              </a:rPr>
              <a:t> </a:t>
            </a:r>
          </a:p>
          <a:p>
            <a:endParaRPr lang="hr-HR" sz="1400" b="1" dirty="0">
              <a:solidFill>
                <a:schemeClr val="accent1"/>
              </a:solidFill>
            </a:endParaRPr>
          </a:p>
          <a:p>
            <a:r>
              <a:rPr lang="fr-FR" sz="1200" dirty="0"/>
              <a:t>Cette boîte à outils est destinée aux responsables du Ministère de la Santé </a:t>
            </a:r>
            <a:br>
              <a:rPr lang="hr-HR" sz="1200" dirty="0"/>
            </a:br>
            <a:r>
              <a:rPr lang="fr-FR" sz="1200" dirty="0"/>
              <a:t>et de l'Action sociale (MSAS), au niveau central, régional et des districts sanitaires. Elle s’adresse également aux partenaires techniques et financiers, aux collectivités territoriales, aux représentants des associations professionnels de santé et aux Organisations communautaires ainsi qu’à toute autre organisation intéressée par la mise en œuvre de l’approche CARDIO.</a:t>
            </a:r>
            <a:r>
              <a:rPr lang="hr-HR" sz="1200" dirty="0"/>
              <a:t> </a:t>
            </a:r>
          </a:p>
        </p:txBody>
      </p:sp>
    </p:spTree>
    <p:extLst>
      <p:ext uri="{BB962C8B-B14F-4D97-AF65-F5344CB8AC3E}">
        <p14:creationId xmlns:p14="http://schemas.microsoft.com/office/powerpoint/2010/main" val="15702906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rgbClr val="F0E1C4"/>
            </a:gs>
            <a:gs pos="100000">
              <a:srgbClr val="E3D0B3"/>
            </a:gs>
          </a:gsLst>
          <a:lin ang="54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D392A55-03C4-C5D8-793C-AA419D90EC52}"/>
              </a:ext>
            </a:extLst>
          </p:cNvPr>
          <p:cNvGraphicFramePr>
            <a:graphicFrameLocks noChangeAspect="1"/>
          </p:cNvGraphicFramePr>
          <p:nvPr>
            <p:custDataLst>
              <p:tags r:id="rId1"/>
            </p:custDataLst>
          </p:nvPr>
        </p:nvGraphicFramePr>
        <p:xfrm>
          <a:off x="1588" y="1588"/>
          <a:ext cx="1228"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3D392A55-03C4-C5D8-793C-AA419D90EC52}"/>
                          </a:ext>
                        </a:extLst>
                      </p:cNvPr>
                      <p:cNvPicPr/>
                      <p:nvPr/>
                    </p:nvPicPr>
                    <p:blipFill>
                      <a:blip r:embed="rId4"/>
                      <a:stretch>
                        <a:fillRect/>
                      </a:stretch>
                    </p:blipFill>
                    <p:spPr>
                      <a:xfrm>
                        <a:off x="1588" y="1588"/>
                        <a:ext cx="122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1B6FF9F-D3CA-DF4D-4545-D59B0DAA7432}"/>
              </a:ext>
            </a:extLst>
          </p:cNvPr>
          <p:cNvSpPr txBox="1"/>
          <p:nvPr/>
        </p:nvSpPr>
        <p:spPr>
          <a:xfrm>
            <a:off x="552450" y="1432790"/>
            <a:ext cx="5480049" cy="4704144"/>
          </a:xfrm>
          <a:prstGeom prst="rect">
            <a:avLst/>
          </a:prstGeom>
          <a:noFill/>
        </p:spPr>
        <p:txBody>
          <a:bodyPr wrap="square" lIns="0" tIns="46800" rIns="0" rtlCol="0">
            <a:noAutofit/>
          </a:bodyPr>
          <a:lstStyle/>
          <a:p>
            <a:r>
              <a:rPr lang="fr-FR" sz="1400" b="1" dirty="0">
                <a:solidFill>
                  <a:schemeClr val="accent1"/>
                </a:solidFill>
              </a:rPr>
              <a:t>Instructions pour l’utilisation de la boîte à outils </a:t>
            </a:r>
            <a:endParaRPr lang="hr-HR" sz="1400" b="1" dirty="0">
              <a:solidFill>
                <a:schemeClr val="accent1"/>
              </a:solidFill>
            </a:endParaRPr>
          </a:p>
          <a:p>
            <a:r>
              <a:rPr lang="fr-FR" sz="1200" dirty="0"/>
              <a:t>Cette boite à outils se compose d’éléments descriptifs de chaque intervention ainsi que des liens pour accéder aux outils et documents utiles. Le lecteur peut donc choisir la section qui l’intéresse pour comprendre la démarche et les grandes étapes de chaque intervention et télécharger au besoin les documents et fiches techniques afin de les adapter. Chaque intervention est décrite selon </a:t>
            </a:r>
            <a:br>
              <a:rPr lang="hr-HR" sz="1200" dirty="0"/>
            </a:br>
            <a:r>
              <a:rPr lang="fr-FR" sz="1200" dirty="0"/>
              <a:t>le plan suivant:</a:t>
            </a:r>
          </a:p>
        </p:txBody>
      </p:sp>
      <p:grpSp>
        <p:nvGrpSpPr>
          <p:cNvPr id="3" name="Group 2">
            <a:extLst>
              <a:ext uri="{FF2B5EF4-FFF2-40B4-BE49-F238E27FC236}">
                <a16:creationId xmlns:a16="http://schemas.microsoft.com/office/drawing/2014/main" id="{98E4811D-F46B-198F-3129-31DE10027966}"/>
              </a:ext>
            </a:extLst>
          </p:cNvPr>
          <p:cNvGrpSpPr/>
          <p:nvPr/>
        </p:nvGrpSpPr>
        <p:grpSpPr>
          <a:xfrm>
            <a:off x="555147" y="3129654"/>
            <a:ext cx="5431266" cy="1834207"/>
            <a:chOff x="535782" y="4853950"/>
            <a:chExt cx="5505449" cy="2214474"/>
          </a:xfrm>
        </p:grpSpPr>
        <p:sp>
          <p:nvSpPr>
            <p:cNvPr id="27" name="Text Placeholder 2">
              <a:extLst>
                <a:ext uri="{FF2B5EF4-FFF2-40B4-BE49-F238E27FC236}">
                  <a16:creationId xmlns:a16="http://schemas.microsoft.com/office/drawing/2014/main" id="{25F98CB4-E650-7C50-E659-D20533D8C2BD}"/>
                </a:ext>
              </a:extLst>
            </p:cNvPr>
            <p:cNvSpPr txBox="1">
              <a:spLocks/>
            </p:cNvSpPr>
            <p:nvPr/>
          </p:nvSpPr>
          <p:spPr>
            <a:xfrm>
              <a:off x="623888" y="4981001"/>
              <a:ext cx="1736865" cy="21136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Contexte</a:t>
              </a:r>
            </a:p>
          </p:txBody>
        </p:sp>
        <p:sp>
          <p:nvSpPr>
            <p:cNvPr id="28" name="Text Placeholder 2">
              <a:extLst>
                <a:ext uri="{FF2B5EF4-FFF2-40B4-BE49-F238E27FC236}">
                  <a16:creationId xmlns:a16="http://schemas.microsoft.com/office/drawing/2014/main" id="{543E6992-7017-5700-771F-16FB7EF3D1E5}"/>
                </a:ext>
              </a:extLst>
            </p:cNvPr>
            <p:cNvSpPr txBox="1">
              <a:spLocks/>
            </p:cNvSpPr>
            <p:nvPr/>
          </p:nvSpPr>
          <p:spPr>
            <a:xfrm>
              <a:off x="2499448" y="4981001"/>
              <a:ext cx="1736865" cy="21136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Objectif</a:t>
              </a:r>
            </a:p>
          </p:txBody>
        </p:sp>
        <p:sp>
          <p:nvSpPr>
            <p:cNvPr id="29" name="Text Placeholder 2">
              <a:extLst>
                <a:ext uri="{FF2B5EF4-FFF2-40B4-BE49-F238E27FC236}">
                  <a16:creationId xmlns:a16="http://schemas.microsoft.com/office/drawing/2014/main" id="{7C241F14-183A-C1A6-DCD7-ACF25531812E}"/>
                </a:ext>
              </a:extLst>
            </p:cNvPr>
            <p:cNvSpPr txBox="1">
              <a:spLocks/>
            </p:cNvSpPr>
            <p:nvPr/>
          </p:nvSpPr>
          <p:spPr>
            <a:xfrm>
              <a:off x="4375008" y="4981001"/>
              <a:ext cx="1666223" cy="211369"/>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Acteurs clés </a:t>
              </a:r>
              <a:br>
                <a:rPr lang="hr-HR" b="1" dirty="0"/>
              </a:br>
              <a:r>
                <a:rPr lang="hr-HR" b="1" dirty="0"/>
                <a:t>et gouvernance</a:t>
              </a:r>
            </a:p>
          </p:txBody>
        </p:sp>
        <p:sp>
          <p:nvSpPr>
            <p:cNvPr id="41" name="Text Placeholder 2">
              <a:extLst>
                <a:ext uri="{FF2B5EF4-FFF2-40B4-BE49-F238E27FC236}">
                  <a16:creationId xmlns:a16="http://schemas.microsoft.com/office/drawing/2014/main" id="{645A2AE6-9BB8-D721-879E-CAEA0C65F12E}"/>
                </a:ext>
              </a:extLst>
            </p:cNvPr>
            <p:cNvSpPr txBox="1">
              <a:spLocks/>
            </p:cNvSpPr>
            <p:nvPr/>
          </p:nvSpPr>
          <p:spPr>
            <a:xfrm>
              <a:off x="623888" y="5695341"/>
              <a:ext cx="1736865" cy="163592"/>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fr-FR" b="1" dirty="0"/>
                <a:t>Etapes pour répliquer cette intervention</a:t>
              </a:r>
            </a:p>
          </p:txBody>
        </p:sp>
        <p:sp>
          <p:nvSpPr>
            <p:cNvPr id="42" name="Text Placeholder 2">
              <a:extLst>
                <a:ext uri="{FF2B5EF4-FFF2-40B4-BE49-F238E27FC236}">
                  <a16:creationId xmlns:a16="http://schemas.microsoft.com/office/drawing/2014/main" id="{6845C7B2-C2F7-D2FC-9DD7-21B975E50280}"/>
                </a:ext>
              </a:extLst>
            </p:cNvPr>
            <p:cNvSpPr txBox="1">
              <a:spLocks/>
            </p:cNvSpPr>
            <p:nvPr/>
          </p:nvSpPr>
          <p:spPr>
            <a:xfrm>
              <a:off x="2499448" y="5695341"/>
              <a:ext cx="1736865" cy="776073"/>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Outils et liens</a:t>
              </a:r>
            </a:p>
          </p:txBody>
        </p:sp>
        <p:sp>
          <p:nvSpPr>
            <p:cNvPr id="43" name="Text Placeholder 2">
              <a:extLst>
                <a:ext uri="{FF2B5EF4-FFF2-40B4-BE49-F238E27FC236}">
                  <a16:creationId xmlns:a16="http://schemas.microsoft.com/office/drawing/2014/main" id="{03220A5C-3669-8A1E-5C57-A1D9AFE6CF69}"/>
                </a:ext>
              </a:extLst>
            </p:cNvPr>
            <p:cNvSpPr txBox="1">
              <a:spLocks/>
            </p:cNvSpPr>
            <p:nvPr/>
          </p:nvSpPr>
          <p:spPr>
            <a:xfrm>
              <a:off x="4375008" y="5695341"/>
              <a:ext cx="1666223" cy="246426"/>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08000" tIns="252000" rIns="108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Recommandations et must-haves</a:t>
              </a:r>
            </a:p>
          </p:txBody>
        </p:sp>
        <p:sp>
          <p:nvSpPr>
            <p:cNvPr id="44" name="Text Placeholder 2">
              <a:extLst>
                <a:ext uri="{FF2B5EF4-FFF2-40B4-BE49-F238E27FC236}">
                  <a16:creationId xmlns:a16="http://schemas.microsoft.com/office/drawing/2014/main" id="{88BF2C08-66FB-CACD-7489-5D7CB6B75D6C}"/>
                </a:ext>
              </a:extLst>
            </p:cNvPr>
            <p:cNvSpPr txBox="1">
              <a:spLocks/>
            </p:cNvSpPr>
            <p:nvPr/>
          </p:nvSpPr>
          <p:spPr>
            <a:xfrm>
              <a:off x="623888" y="6598940"/>
              <a:ext cx="1736865" cy="469484"/>
            </a:xfrm>
            <a:prstGeom prst="roundRect">
              <a:avLst>
                <a:gd name="adj" fmla="val 6598"/>
              </a:avLst>
            </a:prstGeom>
            <a:gradFill>
              <a:gsLst>
                <a:gs pos="0">
                  <a:schemeClr val="accent3">
                    <a:alpha val="20000"/>
                  </a:schemeClr>
                </a:gs>
                <a:gs pos="100000">
                  <a:schemeClr val="accent3">
                    <a:alpha val="0"/>
                  </a:schemeClr>
                </a:gs>
              </a:gsLst>
              <a:lin ang="5400000" scaled="1"/>
            </a:gradFill>
            <a:ln w="25400">
              <a:noFill/>
            </a:ln>
            <a:effectLst/>
          </p:spPr>
          <p:txBody>
            <a:bodyPr vert="horz" lIns="144000" tIns="252000" rIns="144000" bIns="144000" rtlCol="0" anchor="t" anchorCtr="0">
              <a:noAutofit/>
            </a:bodyPr>
            <a:lstStyle>
              <a:lvl1pPr marL="108000" indent="-108000" algn="l" defTabSz="685800" rtl="0" eaLnBrk="1" latinLnBrk="0" hangingPunct="1">
                <a:lnSpc>
                  <a:spcPct val="90000"/>
                </a:lnSpc>
                <a:spcBef>
                  <a:spcPts val="6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2pPr>
              <a:lvl3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3pPr>
              <a:lvl4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4pPr>
              <a:lvl5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5pPr>
              <a:lvl6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6pPr>
              <a:lvl7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7pPr>
              <a:lvl8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8pPr>
              <a:lvl9pPr marL="262800" indent="-144000" algn="l" defTabSz="685800" rtl="0" eaLnBrk="1" latinLnBrk="0" hangingPunct="1">
                <a:lnSpc>
                  <a:spcPct val="90000"/>
                </a:lnSpc>
                <a:spcBef>
                  <a:spcPts val="600"/>
                </a:spcBef>
                <a:buFont typeface="Symbol" pitchFamily="2" charset="2"/>
                <a:buChar char="-"/>
                <a:defRPr sz="1000" kern="1200">
                  <a:solidFill>
                    <a:schemeClr val="tx1"/>
                  </a:solidFill>
                  <a:latin typeface="+mn-lt"/>
                  <a:ea typeface="+mn-ea"/>
                  <a:cs typeface="+mn-cs"/>
                </a:defRPr>
              </a:lvl9pPr>
            </a:lstStyle>
            <a:p>
              <a:pPr marL="0" indent="0" algn="ctr">
                <a:lnSpc>
                  <a:spcPct val="100000"/>
                </a:lnSpc>
                <a:spcBef>
                  <a:spcPts val="0"/>
                </a:spcBef>
                <a:buNone/>
              </a:pPr>
              <a:r>
                <a:rPr lang="hr-HR" b="1" dirty="0"/>
                <a:t>Résultats attendus</a:t>
              </a:r>
            </a:p>
          </p:txBody>
        </p:sp>
        <p:sp>
          <p:nvSpPr>
            <p:cNvPr id="69" name="Oval 68">
              <a:extLst>
                <a:ext uri="{FF2B5EF4-FFF2-40B4-BE49-F238E27FC236}">
                  <a16:creationId xmlns:a16="http://schemas.microsoft.com/office/drawing/2014/main" id="{5B019E5D-7E66-EC8F-68A3-34933931E5D4}"/>
                </a:ext>
              </a:extLst>
            </p:cNvPr>
            <p:cNvSpPr/>
            <p:nvPr/>
          </p:nvSpPr>
          <p:spPr>
            <a:xfrm>
              <a:off x="535782" y="485395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1</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0" name="Oval 69">
              <a:extLst>
                <a:ext uri="{FF2B5EF4-FFF2-40B4-BE49-F238E27FC236}">
                  <a16:creationId xmlns:a16="http://schemas.microsoft.com/office/drawing/2014/main" id="{75F713DE-8EE4-1F4C-AFC0-1E499B17576A}"/>
                </a:ext>
              </a:extLst>
            </p:cNvPr>
            <p:cNvSpPr/>
            <p:nvPr/>
          </p:nvSpPr>
          <p:spPr>
            <a:xfrm>
              <a:off x="2402682" y="485395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2</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1" name="Oval 70">
              <a:extLst>
                <a:ext uri="{FF2B5EF4-FFF2-40B4-BE49-F238E27FC236}">
                  <a16:creationId xmlns:a16="http://schemas.microsoft.com/office/drawing/2014/main" id="{16084E64-8821-0970-54B1-3F5EA145077A}"/>
                </a:ext>
              </a:extLst>
            </p:cNvPr>
            <p:cNvSpPr/>
            <p:nvPr/>
          </p:nvSpPr>
          <p:spPr>
            <a:xfrm>
              <a:off x="4269582" y="4853950"/>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kumimoji="0" lang="hr-HR" sz="900" b="1" i="0" u="none" strike="noStrike" kern="0" cap="none" spc="0" normalizeH="0" baseline="0" noProof="0" dirty="0">
                  <a:ln>
                    <a:noFill/>
                  </a:ln>
                  <a:solidFill>
                    <a:srgbClr val="FFFFFF"/>
                  </a:solidFill>
                  <a:effectLst/>
                  <a:uLnTx/>
                  <a:uFillTx/>
                  <a:latin typeface="Arial"/>
                  <a:ea typeface="+mn-ea"/>
                  <a:cs typeface="Arial" panose="020B0604020202020204" pitchFamily="34" charset="0"/>
                </a:rPr>
                <a:t>3</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2" name="Oval 71">
              <a:extLst>
                <a:ext uri="{FF2B5EF4-FFF2-40B4-BE49-F238E27FC236}">
                  <a16:creationId xmlns:a16="http://schemas.microsoft.com/office/drawing/2014/main" id="{CC3D4ECE-B858-AEB4-6FD2-13F428D15AFC}"/>
                </a:ext>
              </a:extLst>
            </p:cNvPr>
            <p:cNvSpPr/>
            <p:nvPr/>
          </p:nvSpPr>
          <p:spPr>
            <a:xfrm>
              <a:off x="535782" y="5612506"/>
              <a:ext cx="255587" cy="246426"/>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4</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3" name="Oval 72">
              <a:extLst>
                <a:ext uri="{FF2B5EF4-FFF2-40B4-BE49-F238E27FC236}">
                  <a16:creationId xmlns:a16="http://schemas.microsoft.com/office/drawing/2014/main" id="{44E4A2FA-7303-9894-760E-7968E643B60E}"/>
                </a:ext>
              </a:extLst>
            </p:cNvPr>
            <p:cNvSpPr/>
            <p:nvPr/>
          </p:nvSpPr>
          <p:spPr>
            <a:xfrm>
              <a:off x="2402682" y="5612506"/>
              <a:ext cx="255587" cy="246426"/>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5</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4" name="Oval 73">
              <a:extLst>
                <a:ext uri="{FF2B5EF4-FFF2-40B4-BE49-F238E27FC236}">
                  <a16:creationId xmlns:a16="http://schemas.microsoft.com/office/drawing/2014/main" id="{61EFB6B0-46CC-1542-45A7-818F0883E370}"/>
                </a:ext>
              </a:extLst>
            </p:cNvPr>
            <p:cNvSpPr/>
            <p:nvPr/>
          </p:nvSpPr>
          <p:spPr>
            <a:xfrm>
              <a:off x="4269582" y="5612506"/>
              <a:ext cx="255587" cy="246426"/>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6</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sp>
          <p:nvSpPr>
            <p:cNvPr id="76" name="Oval 75">
              <a:extLst>
                <a:ext uri="{FF2B5EF4-FFF2-40B4-BE49-F238E27FC236}">
                  <a16:creationId xmlns:a16="http://schemas.microsoft.com/office/drawing/2014/main" id="{8B5E42C2-99EF-4C67-29FD-429907A884FB}"/>
                </a:ext>
              </a:extLst>
            </p:cNvPr>
            <p:cNvSpPr/>
            <p:nvPr/>
          </p:nvSpPr>
          <p:spPr>
            <a:xfrm>
              <a:off x="535782" y="6474599"/>
              <a:ext cx="255587" cy="255587"/>
            </a:xfrm>
            <a:prstGeom prst="ellipse">
              <a:avLst/>
            </a:prstGeom>
            <a:solidFill>
              <a:srgbClr val="CF3619"/>
            </a:solidFill>
            <a:ln w="12700" cap="flat" cmpd="sng" algn="ctr">
              <a:noFill/>
              <a:prstDash val="solid"/>
              <a:miter lim="800000"/>
            </a:ln>
            <a:effectLst/>
          </p:spPr>
          <p:txBody>
            <a:bodyPr lIns="108000" tIns="72000" rIns="108000" bIns="72000" rtlCol="0" anchor="ctr" anchorCtr="0"/>
            <a:lstStyle/>
            <a:p>
              <a:pPr marL="0" marR="0" lvl="0" indent="0" algn="ctr" defTabSz="457200" eaLnBrk="1" fontAlgn="auto" latinLnBrk="0" hangingPunct="1">
                <a:spcAft>
                  <a:spcPts val="0"/>
                </a:spcAft>
                <a:buClrTx/>
                <a:buSzTx/>
                <a:buFontTx/>
                <a:buNone/>
                <a:tabLst/>
                <a:defRPr/>
              </a:pPr>
              <a:r>
                <a:rPr lang="hr-HR" sz="900" b="1" kern="0" dirty="0">
                  <a:solidFill>
                    <a:srgbClr val="FFFFFF"/>
                  </a:solidFill>
                  <a:latin typeface="Arial"/>
                  <a:cs typeface="Arial" panose="020B0604020202020204" pitchFamily="34" charset="0"/>
                </a:rPr>
                <a:t>7</a:t>
              </a:r>
              <a:endParaRPr kumimoji="0" lang="en-GB" sz="900" b="1" i="0" u="none" strike="noStrike" kern="0" cap="none" spc="0" normalizeH="0" baseline="0" noProof="0" dirty="0" err="1">
                <a:ln>
                  <a:noFill/>
                </a:ln>
                <a:solidFill>
                  <a:srgbClr val="FFFFFF"/>
                </a:solidFill>
                <a:effectLst/>
                <a:uLnTx/>
                <a:uFillTx/>
                <a:latin typeface="Arial"/>
                <a:ea typeface="+mn-ea"/>
                <a:cs typeface="Arial" panose="020B0604020202020204" pitchFamily="34" charset="0"/>
              </a:endParaRPr>
            </a:p>
          </p:txBody>
        </p:sp>
      </p:grpSp>
      <p:sp>
        <p:nvSpPr>
          <p:cNvPr id="5" name="TextBox 4">
            <a:extLst>
              <a:ext uri="{FF2B5EF4-FFF2-40B4-BE49-F238E27FC236}">
                <a16:creationId xmlns:a16="http://schemas.microsoft.com/office/drawing/2014/main" id="{F15E9A8B-65D6-9494-E87E-65DE3C6D1FD0}"/>
              </a:ext>
            </a:extLst>
          </p:cNvPr>
          <p:cNvSpPr txBox="1"/>
          <p:nvPr/>
        </p:nvSpPr>
        <p:spPr>
          <a:xfrm>
            <a:off x="642066" y="5255855"/>
            <a:ext cx="5480049" cy="2712490"/>
          </a:xfrm>
          <a:prstGeom prst="rect">
            <a:avLst/>
          </a:prstGeom>
          <a:noFill/>
        </p:spPr>
        <p:txBody>
          <a:bodyPr wrap="square" lIns="0" tIns="46800" rIns="0" rtlCol="0">
            <a:noAutofit/>
          </a:bodyPr>
          <a:lstStyle/>
          <a:p>
            <a:r>
              <a:rPr lang="en-US" sz="1400" b="1" dirty="0">
                <a:solidFill>
                  <a:schemeClr val="accent1"/>
                </a:solidFill>
              </a:rPr>
              <a:t>Remerciements</a:t>
            </a:r>
          </a:p>
          <a:p>
            <a:pPr algn="just">
              <a:lnSpc>
                <a:spcPct val="107000"/>
              </a:lnSpc>
              <a:spcAft>
                <a:spcPts val="800"/>
              </a:spcAft>
              <a:tabLst>
                <a:tab pos="457200" algn="l"/>
              </a:tabLst>
            </a:pPr>
            <a:r>
              <a:rPr lang="fr-FR" sz="1200" dirty="0">
                <a:solidFill>
                  <a:srgbClr val="000000"/>
                </a:solidFill>
                <a:latin typeface="Arial" panose="020B0604020202020204" pitchFamily="34" charset="0"/>
                <a:cs typeface="Times New Roman" panose="02020603050405020304" pitchFamily="18" charset="0"/>
              </a:rPr>
              <a:t>La Fondation Novartis et </a:t>
            </a:r>
            <a:r>
              <a:rPr lang="fr-FR" sz="1200" dirty="0" err="1">
                <a:solidFill>
                  <a:srgbClr val="000000"/>
                </a:solidFill>
                <a:latin typeface="Arial" panose="020B0604020202020204" pitchFamily="34" charset="0"/>
                <a:cs typeface="Times New Roman" panose="02020603050405020304" pitchFamily="18" charset="0"/>
              </a:rPr>
              <a:t>IntraHealth</a:t>
            </a:r>
            <a:r>
              <a:rPr lang="fr-FR" sz="1200" dirty="0">
                <a:solidFill>
                  <a:srgbClr val="000000"/>
                </a:solidFill>
                <a:latin typeface="Arial" panose="020B0604020202020204" pitchFamily="34" charset="0"/>
                <a:cs typeface="Times New Roman" panose="02020603050405020304" pitchFamily="18" charset="0"/>
              </a:rPr>
              <a:t> International tiennent à remercier le Ministère de la Santé et de l’Action Sociale (MSAS) et particulièrement la Division de lutte contre les maladies non transmissibles (DLMNT) pour la coordination de l’élaboration de ces outils, la CSSDOS, la Cellule Informatique et la DSISS, la Société sénégalaise de Cardiologie, la Société sénégalaise de Neurologie, le Centre antidiabétique Marc </a:t>
            </a:r>
            <a:r>
              <a:rPr lang="fr-FR" sz="1200" dirty="0" err="1">
                <a:solidFill>
                  <a:srgbClr val="000000"/>
                </a:solidFill>
                <a:latin typeface="Arial" panose="020B0604020202020204" pitchFamily="34" charset="0"/>
                <a:cs typeface="Times New Roman" panose="02020603050405020304" pitchFamily="18" charset="0"/>
              </a:rPr>
              <a:t>Sankalé</a:t>
            </a:r>
            <a:r>
              <a:rPr lang="fr-FR" sz="1200" dirty="0">
                <a:solidFill>
                  <a:srgbClr val="000000"/>
                </a:solidFill>
                <a:latin typeface="Arial" panose="020B0604020202020204" pitchFamily="34" charset="0"/>
                <a:cs typeface="Times New Roman" panose="02020603050405020304" pitchFamily="18" charset="0"/>
              </a:rPr>
              <a:t>, la Région Médicale de Dakar et les districts sanitaires.</a:t>
            </a:r>
          </a:p>
          <a:p>
            <a:pPr algn="just">
              <a:lnSpc>
                <a:spcPct val="107000"/>
              </a:lnSpc>
              <a:spcAft>
                <a:spcPts val="800"/>
              </a:spcAft>
              <a:tabLst>
                <a:tab pos="457200" algn="l"/>
              </a:tabLst>
            </a:pPr>
            <a:r>
              <a:rPr lang="fr-FR" sz="12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us les outils pour la mise en œuvre de CARDIO4Dakar peuvent être retrouvés sur les plateformes suivantes : </a:t>
            </a:r>
          </a:p>
          <a:p>
            <a:pPr algn="just">
              <a:lnSpc>
                <a:spcPct val="107000"/>
              </a:lnSpc>
              <a:spcAft>
                <a:spcPts val="800"/>
              </a:spcAft>
              <a:tabLst>
                <a:tab pos="457200" algn="l"/>
              </a:tabLst>
            </a:pP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te e-learning du MSAS: </a:t>
            </a:r>
            <a:r>
              <a:rPr lang="en-US" sz="1200" u="sng" dirty="0">
                <a:solidFill>
                  <a:srgbClr val="000000"/>
                </a:solidFill>
                <a:effectLst/>
                <a:ea typeface="Segoe UI" panose="020B0502040204020203" pitchFamily="34" charset="0"/>
                <a:cs typeface="Calibri" panose="020F0502020204030204" pitchFamily="34" charset="0"/>
                <a:hlinkClick r:id="rId5"/>
              </a:rPr>
              <a:t>www.formation.sante.gouv.sn</a:t>
            </a:r>
            <a:r>
              <a:rPr lang="en-US" sz="1200" dirty="0">
                <a:solidFill>
                  <a:srgbClr val="000000"/>
                </a:solidFill>
                <a:effectLst/>
                <a:ea typeface="Segoe UI" panose="020B0502040204020203" pitchFamily="34" charset="0"/>
                <a:cs typeface="Calibri" panose="020F0502020204030204" pitchFamily="34" charset="0"/>
              </a:rPr>
              <a:t> </a:t>
            </a:r>
            <a:endParaRPr lang="en-GB" sz="1200" dirty="0">
              <a:effectLst/>
              <a:ea typeface="Calibri" panose="020F0502020204030204" pitchFamily="34" charset="0"/>
              <a:cs typeface="Times New Roman" panose="02020603050405020304" pitchFamily="18" charset="0"/>
            </a:endParaRPr>
          </a:p>
          <a:p>
            <a:pPr algn="just">
              <a:lnSpc>
                <a:spcPct val="107000"/>
              </a:lnSpc>
              <a:spcAft>
                <a:spcPts val="800"/>
              </a:spcAft>
              <a:tabLst>
                <a:tab pos="457200" algn="l"/>
              </a:tabLst>
            </a:pP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te web de la Fondation Novartis: </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hlinkClick r:id="rId6"/>
              </a:rPr>
              <a:t>https://www.novartisfoundation.org/</a:t>
            </a:r>
            <a:endPar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07000"/>
              </a:lnSpc>
              <a:spcAft>
                <a:spcPts val="800"/>
              </a:spcAft>
              <a:tabLst>
                <a:tab pos="457200" algn="l"/>
              </a:tabLst>
            </a:pP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te web d’</a:t>
            </a:r>
            <a:r>
              <a:rPr lang="fr-FR" sz="1200" dirty="0" err="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aHealth</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hlinkClick r:id="rId7"/>
              </a:rPr>
              <a:t>https://www.intrahealth.org/countries/senegal</a:t>
            </a:r>
            <a:endParaRPr lang="fr-FR"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just">
              <a:lnSpc>
                <a:spcPct val="107000"/>
              </a:lnSpc>
              <a:spcAft>
                <a:spcPts val="800"/>
              </a:spcAft>
              <a:tabLst>
                <a:tab pos="457200" algn="l"/>
              </a:tabLst>
            </a:pPr>
            <a:endParaRPr lang="fr-FR" sz="1200" b="1" dirty="0">
              <a:solidFill>
                <a:srgbClr val="000000"/>
              </a:solidFill>
              <a:latin typeface="Arial" panose="020B0604020202020204" pitchFamily="34" charset="0"/>
              <a:ea typeface="Aptos" panose="020B0004020202020204" pitchFamily="34" charset="0"/>
              <a:cs typeface="Times New Roman" panose="02020603050405020304" pitchFamily="18" charset="0"/>
            </a:endParaRPr>
          </a:p>
          <a:p>
            <a:pPr algn="just">
              <a:lnSpc>
                <a:spcPct val="107000"/>
              </a:lnSpc>
              <a:spcAft>
                <a:spcPts val="800"/>
              </a:spcAft>
              <a:tabLst>
                <a:tab pos="457200" algn="l"/>
              </a:tabLst>
            </a:pPr>
            <a:endParaRPr lang="fr-FR" sz="1200" b="1"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7362462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47DEB4D-7F7C-DACC-C17D-16EA72C80C2E}"/>
              </a:ext>
            </a:extLst>
          </p:cNvPr>
          <p:cNvSpPr/>
          <p:nvPr/>
        </p:nvSpPr>
        <p:spPr>
          <a:xfrm>
            <a:off x="0" y="2603501"/>
            <a:ext cx="6577013" cy="12135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5">
            <a:extLst>
              <a:ext uri="{FF2B5EF4-FFF2-40B4-BE49-F238E27FC236}">
                <a16:creationId xmlns:a16="http://schemas.microsoft.com/office/drawing/2014/main" id="{33A65A5B-BB97-147F-47D6-117AD4775D3C}"/>
              </a:ext>
            </a:extLst>
          </p:cNvPr>
          <p:cNvSpPr txBox="1">
            <a:spLocks/>
          </p:cNvSpPr>
          <p:nvPr/>
        </p:nvSpPr>
        <p:spPr>
          <a:xfrm>
            <a:off x="514033" y="7346511"/>
            <a:ext cx="5548946" cy="527747"/>
          </a:xfrm>
          <a:prstGeom prst="rect">
            <a:avLst/>
          </a:prstGeom>
        </p:spPr>
        <p:txBody>
          <a:bodyPr vert="horz" lIns="0" tIns="0" rIns="0" bIns="0" rtlCol="0" anchor="b" anchorCtr="0">
            <a:noAutofit/>
          </a:bodyPr>
          <a:lstStyle>
            <a:lvl1pPr algn="l" defTabSz="1204016" rtl="0" eaLnBrk="1" latinLnBrk="0" hangingPunct="1">
              <a:lnSpc>
                <a:spcPct val="90000"/>
              </a:lnSpc>
              <a:spcBef>
                <a:spcPct val="0"/>
              </a:spcBef>
              <a:buNone/>
              <a:defRPr sz="5267" b="1" kern="1200" spc="-132" baseline="0">
                <a:solidFill>
                  <a:srgbClr val="002068"/>
                </a:solidFill>
                <a:latin typeface="+mj-lt"/>
                <a:ea typeface="+mj-ea"/>
                <a:cs typeface="+mj-cs"/>
              </a:defRPr>
            </a:lvl1pPr>
          </a:lstStyle>
          <a:p>
            <a:pPr algn="ctr"/>
            <a:r>
              <a:rPr lang="fr-FR" sz="3200" dirty="0">
                <a:solidFill>
                  <a:schemeClr val="accent3"/>
                </a:solidFill>
              </a:rPr>
              <a:t>CARDIO4Dakar</a:t>
            </a:r>
            <a:endParaRPr lang="en-GB" sz="2800" dirty="0">
              <a:solidFill>
                <a:schemeClr val="accent3"/>
              </a:solidFill>
            </a:endParaRPr>
          </a:p>
        </p:txBody>
      </p:sp>
      <p:pic>
        <p:nvPicPr>
          <p:cNvPr id="20" name="Picture 19" descr="A group of red and black logos&#10;&#10;Description automatically generated">
            <a:extLst>
              <a:ext uri="{FF2B5EF4-FFF2-40B4-BE49-F238E27FC236}">
                <a16:creationId xmlns:a16="http://schemas.microsoft.com/office/drawing/2014/main" id="{21CA210B-9169-DF65-3CDF-73BE30F297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3106" y="3049827"/>
            <a:ext cx="1158418" cy="375582"/>
          </a:xfrm>
          <a:prstGeom prst="rect">
            <a:avLst/>
          </a:prstGeom>
        </p:spPr>
      </p:pic>
      <p:pic>
        <p:nvPicPr>
          <p:cNvPr id="30" name="Picture 29" descr="A orange and white rectangle with white text&#10;&#10;Description automatically generated">
            <a:extLst>
              <a:ext uri="{FF2B5EF4-FFF2-40B4-BE49-F238E27FC236}">
                <a16:creationId xmlns:a16="http://schemas.microsoft.com/office/drawing/2014/main" id="{B7593375-6F2B-CDAA-CB97-B4DB78949957}"/>
              </a:ext>
            </a:extLst>
          </p:cNvPr>
          <p:cNvPicPr>
            <a:picLocks noChangeAspect="1"/>
          </p:cNvPicPr>
          <p:nvPr/>
        </p:nvPicPr>
        <p:blipFill>
          <a:blip r:embed="rId3"/>
          <a:stretch>
            <a:fillRect/>
          </a:stretch>
        </p:blipFill>
        <p:spPr>
          <a:xfrm>
            <a:off x="2413409" y="3039943"/>
            <a:ext cx="702349" cy="395350"/>
          </a:xfrm>
          <a:prstGeom prst="rect">
            <a:avLst/>
          </a:prstGeom>
        </p:spPr>
      </p:pic>
      <p:pic>
        <p:nvPicPr>
          <p:cNvPr id="31" name="Picture 30" descr="A blue and red text on a white background&#10;&#10;Description automatically generated">
            <a:extLst>
              <a:ext uri="{FF2B5EF4-FFF2-40B4-BE49-F238E27FC236}">
                <a16:creationId xmlns:a16="http://schemas.microsoft.com/office/drawing/2014/main" id="{69F31895-1C53-B6D2-D282-6174CAA631E3}"/>
              </a:ext>
            </a:extLst>
          </p:cNvPr>
          <p:cNvPicPr>
            <a:picLocks noChangeAspect="1"/>
          </p:cNvPicPr>
          <p:nvPr/>
        </p:nvPicPr>
        <p:blipFill>
          <a:blip r:embed="rId4"/>
          <a:stretch>
            <a:fillRect/>
          </a:stretch>
        </p:blipFill>
        <p:spPr>
          <a:xfrm>
            <a:off x="4546013" y="3110714"/>
            <a:ext cx="838669" cy="253808"/>
          </a:xfrm>
          <a:prstGeom prst="rect">
            <a:avLst/>
          </a:prstGeom>
        </p:spPr>
      </p:pic>
      <p:pic>
        <p:nvPicPr>
          <p:cNvPr id="33" name="Picture 32">
            <a:extLst>
              <a:ext uri="{FF2B5EF4-FFF2-40B4-BE49-F238E27FC236}">
                <a16:creationId xmlns:a16="http://schemas.microsoft.com/office/drawing/2014/main" id="{C9116B83-2B4B-694C-43E9-EC89C6A18F9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60433" y="2978086"/>
            <a:ext cx="519065" cy="519065"/>
          </a:xfrm>
          <a:prstGeom prst="rect">
            <a:avLst/>
          </a:prstGeom>
          <a:noFill/>
        </p:spPr>
      </p:pic>
      <p:pic>
        <p:nvPicPr>
          <p:cNvPr id="34" name="Picture 33" descr="A drawing of a person sitting&#10;&#10;Description automatically generated">
            <a:extLst>
              <a:ext uri="{FF2B5EF4-FFF2-40B4-BE49-F238E27FC236}">
                <a16:creationId xmlns:a16="http://schemas.microsoft.com/office/drawing/2014/main" id="{D4928C23-38F1-2413-6FE4-035725028501}"/>
              </a:ext>
            </a:extLst>
          </p:cNvPr>
          <p:cNvPicPr>
            <a:picLocks noChangeAspect="1"/>
          </p:cNvPicPr>
          <p:nvPr/>
        </p:nvPicPr>
        <p:blipFill>
          <a:blip r:embed="rId6"/>
          <a:stretch>
            <a:fillRect/>
          </a:stretch>
        </p:blipFill>
        <p:spPr>
          <a:xfrm>
            <a:off x="1967994" y="3047265"/>
            <a:ext cx="280588" cy="380706"/>
          </a:xfrm>
          <a:prstGeom prst="rect">
            <a:avLst/>
          </a:prstGeom>
        </p:spPr>
      </p:pic>
      <p:sp>
        <p:nvSpPr>
          <p:cNvPr id="21" name="TextBox 20">
            <a:extLst>
              <a:ext uri="{FF2B5EF4-FFF2-40B4-BE49-F238E27FC236}">
                <a16:creationId xmlns:a16="http://schemas.microsoft.com/office/drawing/2014/main" id="{281B0EF4-5F19-DE8A-EDD6-AF1B65D2DB16}"/>
              </a:ext>
            </a:extLst>
          </p:cNvPr>
          <p:cNvSpPr txBox="1"/>
          <p:nvPr/>
        </p:nvSpPr>
        <p:spPr>
          <a:xfrm>
            <a:off x="498563" y="2914453"/>
            <a:ext cx="1356060" cy="646331"/>
          </a:xfrm>
          <a:prstGeom prst="rect">
            <a:avLst/>
          </a:prstGeom>
          <a:noFill/>
        </p:spPr>
        <p:txBody>
          <a:bodyPr wrap="square" rtlCol="0">
            <a:spAutoFit/>
          </a:bodyPr>
          <a:lstStyle/>
          <a:p>
            <a:r>
              <a:rPr lang="en-US" sz="1200" b="1" dirty="0">
                <a:solidFill>
                  <a:schemeClr val="accent2"/>
                </a:solidFill>
              </a:rPr>
              <a:t>Avec la collaboration de:</a:t>
            </a:r>
            <a:endParaRPr lang="de-CH" sz="1200" b="1" dirty="0">
              <a:solidFill>
                <a:schemeClr val="accent2"/>
              </a:solidFill>
            </a:endParaRPr>
          </a:p>
        </p:txBody>
      </p:sp>
      <p:sp>
        <p:nvSpPr>
          <p:cNvPr id="8" name="Rectangle 7">
            <a:extLst>
              <a:ext uri="{FF2B5EF4-FFF2-40B4-BE49-F238E27FC236}">
                <a16:creationId xmlns:a16="http://schemas.microsoft.com/office/drawing/2014/main" id="{DF5B8D1F-729A-A96F-4D14-31035FBD72CD}"/>
              </a:ext>
            </a:extLst>
          </p:cNvPr>
          <p:cNvSpPr/>
          <p:nvPr/>
        </p:nvSpPr>
        <p:spPr>
          <a:xfrm>
            <a:off x="0" y="8648700"/>
            <a:ext cx="6577013" cy="711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DB81337D-06FE-1A7F-81BF-FF09AFD6B661}"/>
              </a:ext>
            </a:extLst>
          </p:cNvPr>
          <p:cNvPicPr/>
          <p:nvPr/>
        </p:nvPicPr>
        <p:blipFill>
          <a:blip r:embed="rId7"/>
          <a:stretch>
            <a:fillRect/>
          </a:stretch>
        </p:blipFill>
        <p:spPr>
          <a:xfrm>
            <a:off x="3812989" y="8918018"/>
            <a:ext cx="2233471" cy="197695"/>
          </a:xfrm>
          <a:prstGeom prst="rect">
            <a:avLst/>
          </a:prstGeom>
          <a:noFill/>
          <a:ln>
            <a:noFill/>
            <a:prstDash/>
          </a:ln>
        </p:spPr>
      </p:pic>
      <p:pic>
        <p:nvPicPr>
          <p:cNvPr id="11" name="Picture 10">
            <a:extLst>
              <a:ext uri="{FF2B5EF4-FFF2-40B4-BE49-F238E27FC236}">
                <a16:creationId xmlns:a16="http://schemas.microsoft.com/office/drawing/2014/main" id="{2EF30A5B-697E-67B3-4AF5-8D2C070089F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2618878" y="8853589"/>
            <a:ext cx="1018103" cy="384673"/>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7BD4B235-3D25-7584-AE53-23F366FDC05A}"/>
              </a:ext>
            </a:extLst>
          </p:cNvPr>
          <p:cNvCxnSpPr>
            <a:cxnSpLocks/>
          </p:cNvCxnSpPr>
          <p:nvPr/>
        </p:nvCxnSpPr>
        <p:spPr>
          <a:xfrm>
            <a:off x="317500" y="0"/>
            <a:ext cx="0" cy="9359900"/>
          </a:xfrm>
          <a:prstGeom prst="line">
            <a:avLst/>
          </a:prstGeom>
          <a:ln w="12700">
            <a:solidFill>
              <a:schemeClr val="accent5">
                <a:alpha val="2000"/>
              </a:schemeClr>
            </a:solidFill>
          </a:ln>
          <a:effectLst>
            <a:glow rad="38100">
              <a:schemeClr val="tx2">
                <a:alpha val="15000"/>
              </a:schemeClr>
            </a:glow>
            <a:outerShdw blurRad="63500" dist="38100" sx="102000" sy="102000" algn="ctr" rotWithShape="0">
              <a:schemeClr val="tx1"/>
            </a:outerShdw>
          </a:effectLst>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1231CEB-CB76-62B6-71D4-DDE61EE4ED27}"/>
              </a:ext>
            </a:extLst>
          </p:cNvPr>
          <p:cNvSpPr txBox="1"/>
          <p:nvPr/>
        </p:nvSpPr>
        <p:spPr>
          <a:xfrm>
            <a:off x="1636123" y="4357775"/>
            <a:ext cx="3298370" cy="727059"/>
          </a:xfrm>
          <a:prstGeom prst="rect">
            <a:avLst/>
          </a:prstGeom>
          <a:noFill/>
        </p:spPr>
        <p:txBody>
          <a:bodyPr wrap="square">
            <a:spAutoFit/>
          </a:bodyPr>
          <a:lstStyle/>
          <a:p>
            <a:pPr algn="ctr">
              <a:lnSpc>
                <a:spcPct val="107000"/>
              </a:lnSpc>
              <a:spcAft>
                <a:spcPts val="800"/>
              </a:spcAft>
            </a:pPr>
            <a:r>
              <a:rPr lang="fr-FR" sz="2000" b="1" i="1" kern="100" dirty="0">
                <a:solidFill>
                  <a:schemeClr val="accent3"/>
                </a:solidFill>
                <a:ea typeface="Calibri" panose="020F0502020204030204" pitchFamily="34" charset="0"/>
                <a:cs typeface="Times New Roman" panose="02020603050405020304" pitchFamily="18" charset="0"/>
              </a:rPr>
              <a:t>‘Ensemble, disons non à l’hypertension!’</a:t>
            </a:r>
            <a:endParaRPr lang="fr-FR" sz="2000" b="1" i="1" kern="100" dirty="0">
              <a:solidFill>
                <a:schemeClr val="accent3"/>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9806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rtis | Reimagining Medicine">
  <a:themeElements>
    <a:clrScheme name="Custom 27">
      <a:dk1>
        <a:srgbClr val="000000"/>
      </a:dk1>
      <a:lt1>
        <a:srgbClr val="FFFFFF"/>
      </a:lt1>
      <a:dk2>
        <a:srgbClr val="000000"/>
      </a:dk2>
      <a:lt2>
        <a:srgbClr val="FFC100"/>
      </a:lt2>
      <a:accent1>
        <a:srgbClr val="002068"/>
      </a:accent1>
      <a:accent2>
        <a:srgbClr val="5A170D"/>
      </a:accent2>
      <a:accent3>
        <a:srgbClr val="CF3619"/>
      </a:accent3>
      <a:accent4>
        <a:srgbClr val="EE7436"/>
      </a:accent4>
      <a:accent5>
        <a:srgbClr val="BF1731"/>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vartis_PPT_16x9_Novartis_RM_Logo" id="{FECDEB66-9CE0-704E-BE84-DA3B331DA161}" vid="{8A11138C-249F-3A46-AAB6-73AA31FC4D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49534_Novartis_CARDIO4Dakar Toolkit_template_v1.0_SS_WIPsample_D3</Template>
  <TotalTime>0</TotalTime>
  <Words>1047</Words>
  <Application>Microsoft Office PowerPoint</Application>
  <PresentationFormat>Custom</PresentationFormat>
  <Paragraphs>82</Paragraphs>
  <Slides>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ptos</vt:lpstr>
      <vt:lpstr>Arial</vt:lpstr>
      <vt:lpstr>Calibri</vt:lpstr>
      <vt:lpstr>Ping LCG Medium</vt:lpstr>
      <vt:lpstr>Segoe UI</vt:lpstr>
      <vt:lpstr>Symbol</vt:lpstr>
      <vt:lpstr>Novartis | Reimagining Medicine</vt:lpstr>
      <vt:lpstr>think-cell Slide</vt:lpstr>
      <vt:lpstr>Boîte à outils pour la réplication de l’approche CARDIO dans  la lutte contre l’hypertension artérielle et les autres facteurs de risque</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slide heading</dc:title>
  <dc:creator>Meulenbroek, Thierry</dc:creator>
  <cp:lastModifiedBy>Des Rosiers, Sarah</cp:lastModifiedBy>
  <cp:revision>207</cp:revision>
  <dcterms:created xsi:type="dcterms:W3CDTF">2023-10-31T09:06:01Z</dcterms:created>
  <dcterms:modified xsi:type="dcterms:W3CDTF">2024-07-30T14:2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10-12T11:34:02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9929b886-7866-4465-9bf7-3a0ab3cdd5a5</vt:lpwstr>
  </property>
  <property fmtid="{D5CDD505-2E9C-101B-9397-08002B2CF9AE}" pid="8" name="MSIP_Label_3c9bec58-8084-492e-8360-0e1cfe36408c_ContentBits">
    <vt:lpwstr>0</vt:lpwstr>
  </property>
</Properties>
</file>